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10.xml" ContentType="application/vnd.openxmlformats-officedocument.presentationml.tags+xml"/>
  <Override PartName="/ppt/notesSlides/notesSlide1.xml" ContentType="application/vnd.openxmlformats-officedocument.presentationml.notesSlide+xml"/>
  <Override PartName="/ppt/tags/tag111.xml" ContentType="application/vnd.openxmlformats-officedocument.presentationml.tags+xml"/>
  <Override PartName="/ppt/notesSlides/notesSlide2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4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5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notesSlides/notesSlide6.xml" ContentType="application/vnd.openxmlformats-officedocument.presentationml.notesSlide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notesSlides/notesSlide7.xml" ContentType="application/vnd.openxmlformats-officedocument.presentationml.notesSlide+xml"/>
  <Override PartName="/ppt/tags/tag465.xml" ContentType="application/vnd.openxmlformats-officedocument.presentationml.tags+xml"/>
  <Override PartName="/ppt/notesSlides/notesSlide8.xml" ContentType="application/vnd.openxmlformats-officedocument.presentationml.notesSlid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notesSlides/notesSlide9.xml" ContentType="application/vnd.openxmlformats-officedocument.presentationml.notesSlide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notesSlides/notesSlide10.xml" ContentType="application/vnd.openxmlformats-officedocument.presentationml.notesSlide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notesSlides/notesSlide11.xml" ContentType="application/vnd.openxmlformats-officedocument.presentationml.notesSlide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notesSlides/notesSlide12.xml" ContentType="application/vnd.openxmlformats-officedocument.presentationml.notesSlide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notesSlides/notesSlide13.xml" ContentType="application/vnd.openxmlformats-officedocument.presentationml.notesSlide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embedTrueTypeFonts="1" saveSubsetFonts="1" autoCompressPictures="0">
  <p:sldMasterIdLst>
    <p:sldMasterId id="2147483648" r:id="rId1"/>
    <p:sldMasterId id="2147483777" r:id="rId2"/>
    <p:sldMasterId id="2147483806" r:id="rId3"/>
    <p:sldMasterId id="2147483813" r:id="rId4"/>
  </p:sldMasterIdLst>
  <p:notesMasterIdLst>
    <p:notesMasterId r:id="rId25"/>
  </p:notesMasterIdLst>
  <p:handoutMasterIdLst>
    <p:handoutMasterId r:id="rId26"/>
  </p:handoutMasterIdLst>
  <p:sldIdLst>
    <p:sldId id="685" r:id="rId5"/>
    <p:sldId id="766" r:id="rId6"/>
    <p:sldId id="767" r:id="rId7"/>
    <p:sldId id="768" r:id="rId8"/>
    <p:sldId id="771" r:id="rId9"/>
    <p:sldId id="772" r:id="rId10"/>
    <p:sldId id="695" r:id="rId11"/>
    <p:sldId id="709" r:id="rId12"/>
    <p:sldId id="773" r:id="rId13"/>
    <p:sldId id="774" r:id="rId14"/>
    <p:sldId id="775" r:id="rId15"/>
    <p:sldId id="777" r:id="rId16"/>
    <p:sldId id="776" r:id="rId17"/>
    <p:sldId id="778" r:id="rId18"/>
    <p:sldId id="779" r:id="rId19"/>
    <p:sldId id="780" r:id="rId20"/>
    <p:sldId id="782" r:id="rId21"/>
    <p:sldId id="736" r:id="rId22"/>
    <p:sldId id="785" r:id="rId23"/>
    <p:sldId id="786" r:id="rId24"/>
  </p:sldIdLst>
  <p:sldSz cx="11949113" cy="6721475"/>
  <p:notesSz cx="6858000" cy="9240838"/>
  <p:embeddedFontLst>
    <p:embeddedFont>
      <p:font typeface="Georgia" panose="02040502050405020303" pitchFamily="18" charset="0"/>
      <p:regular r:id="rId27"/>
      <p:bold r:id="rId28"/>
      <p:italic r:id="rId29"/>
      <p:boldItalic r:id="rId30"/>
    </p:embeddedFont>
    <p:embeddedFont>
      <p:font typeface="Century Gothic" panose="020B0502020202020204" pitchFamily="34" charset="0"/>
      <p:regular r:id="rId31"/>
      <p:bold r:id="rId32"/>
      <p:italic r:id="rId33"/>
      <p:boldItalic r:id="rId34"/>
    </p:embeddedFont>
    <p:embeddedFont>
      <p:font typeface="ＭＳ Ｐゴシック" panose="020B0600070205080204" pitchFamily="34" charset="-128"/>
      <p:regular r:id="rId35"/>
    </p:embeddedFont>
    <p:embeddedFont>
      <p:font typeface="Arial Unicode MS" panose="020B0604020202020204" charset="-128"/>
      <p:regular r:id="rId36"/>
    </p:embeddedFont>
    <p:embeddedFont>
      <p:font typeface="Arial Black" panose="020B0A04020102020204" pitchFamily="34" charset="0"/>
      <p:regular r:id="rId37"/>
      <p:bold r:id="rId38"/>
      <p:italic r:id="rId39"/>
    </p:embeddedFont>
    <p:embeddedFont>
      <p:font typeface="SimSun" panose="02010600030101010101" pitchFamily="2" charset="-122"/>
      <p:regular r:id="rId40"/>
    </p:embeddedFont>
  </p:embeddedFontLst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57" userDrawn="1">
          <p15:clr>
            <a:srgbClr val="A4A3A4"/>
          </p15:clr>
        </p15:guide>
        <p15:guide id="2" pos="2644" userDrawn="1">
          <p15:clr>
            <a:srgbClr val="A4A3A4"/>
          </p15:clr>
        </p15:guide>
        <p15:guide id="3" orient="horz" pos="34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1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DFDFDF"/>
    <a:srgbClr val="BEB5AF"/>
    <a:srgbClr val="BEEDFF"/>
    <a:srgbClr val="5CD2FF"/>
    <a:srgbClr val="00ADEF"/>
    <a:srgbClr val="002960"/>
    <a:srgbClr val="666666"/>
    <a:srgbClr val="A3A3A3"/>
    <a:srgbClr val="93E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0" autoAdjust="0"/>
    <p:restoredTop sz="97478" autoAdjust="0"/>
  </p:normalViewPr>
  <p:slideViewPr>
    <p:cSldViewPr snapToGrid="0" snapToObjects="1">
      <p:cViewPr varScale="1">
        <p:scale>
          <a:sx n="69" d="100"/>
          <a:sy n="69" d="100"/>
        </p:scale>
        <p:origin x="852" y="52"/>
      </p:cViewPr>
      <p:guideLst>
        <p:guide orient="horz" pos="557"/>
        <p:guide pos="2644"/>
        <p:guide orient="horz" pos="3485"/>
      </p:guideLst>
    </p:cSldViewPr>
  </p:slideViewPr>
  <p:outlineViewPr>
    <p:cViewPr>
      <p:scale>
        <a:sx n="33" d="100"/>
        <a:sy n="33" d="100"/>
      </p:scale>
      <p:origin x="0" y="-713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2178" y="102"/>
      </p:cViewPr>
      <p:guideLst>
        <p:guide orient="horz" pos="2911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9" Type="http://schemas.openxmlformats.org/officeDocument/2006/relationships/font" Target="fonts/font13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font" Target="fonts/font8.fntdata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3.fntdata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5.fntdata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4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20.emf"/></Relationships>
</file>

<file path=ppt/drawings/_rels/vmlDrawing4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emf"/><Relationship Id="rId1" Type="http://schemas.openxmlformats.org/officeDocument/2006/relationships/image" Target="../media/image20.emf"/></Relationships>
</file>

<file path=ppt/drawings/_rels/vmlDrawing4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image" Target="../media/image2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4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image" Target="../media/image17.emf"/></Relationships>
</file>

<file path=ppt/drawings/_rels/vmlDrawing4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image" Target="../media/image49.emf"/></Relationships>
</file>

<file path=ppt/drawings/_rels/vmlDrawing48.v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image" Target="../media/image4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image" Target="../media/image26.emf"/></Relationships>
</file>

<file path=ppt/drawings/_rels/vmlDrawing52.v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emf"/><Relationship Id="rId1" Type="http://schemas.openxmlformats.org/officeDocument/2006/relationships/image" Target="../media/image53.emf"/><Relationship Id="rId6" Type="http://schemas.openxmlformats.org/officeDocument/2006/relationships/image" Target="../media/image67.emf"/><Relationship Id="rId5" Type="http://schemas.openxmlformats.org/officeDocument/2006/relationships/image" Target="../media/image66.emf"/><Relationship Id="rId4" Type="http://schemas.openxmlformats.org/officeDocument/2006/relationships/image" Target="../media/image65.emf"/></Relationships>
</file>

<file path=ppt/drawings/_rels/vmlDrawing5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9.emf"/><Relationship Id="rId1" Type="http://schemas.openxmlformats.org/officeDocument/2006/relationships/image" Target="../media/image68.emf"/></Relationships>
</file>

<file path=ppt/drawings/_rels/vmlDrawing54.v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3.emf"/><Relationship Id="rId1" Type="http://schemas.openxmlformats.org/officeDocument/2006/relationships/image" Target="../media/image2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2438" y="579438"/>
            <a:ext cx="6002337" cy="337661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356" y="4965470"/>
            <a:ext cx="5844152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20218" y="8886422"/>
            <a:ext cx="544054" cy="172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64207" y="109972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798228" y="7208024"/>
            <a:ext cx="75383" cy="169277"/>
          </a:xfrm>
        </p:spPr>
        <p:txBody>
          <a:bodyPr/>
          <a:lstStyle/>
          <a:p>
            <a:fld id="{3C3A632B-FBDE-46D4-BF6F-6D14421E6342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611188" y="509588"/>
            <a:ext cx="5408612" cy="3043237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755228" y="3803694"/>
            <a:ext cx="5118381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4035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561975"/>
            <a:ext cx="7005638" cy="3940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0956" y="4487690"/>
            <a:ext cx="6445518" cy="2462213"/>
          </a:xfrm>
        </p:spPr>
        <p:txBody>
          <a:bodyPr/>
          <a:lstStyle/>
          <a:p>
            <a:r>
              <a:rPr lang="en-US" dirty="0"/>
              <a:t>If we look take</a:t>
            </a:r>
            <a:r>
              <a:rPr lang="en-US" baseline="0" dirty="0"/>
              <a:t> a granular look at oil demand, the following is evident:</a:t>
            </a:r>
          </a:p>
          <a:p>
            <a:endParaRPr lang="en-US" baseline="0" dirty="0"/>
          </a:p>
          <a:p>
            <a:pPr marL="266891" indent="-266891">
              <a:buFont typeface="Arial" panose="020B0604020202020204" pitchFamily="34" charset="0"/>
              <a:buChar char="•"/>
            </a:pPr>
            <a:r>
              <a:rPr lang="en-US" baseline="0" dirty="0"/>
              <a:t>China &amp; India account for </a:t>
            </a:r>
            <a:r>
              <a:rPr lang="en-US" dirty="0"/>
              <a:t>nearly all</a:t>
            </a:r>
            <a:r>
              <a:rPr lang="en-US" baseline="0" dirty="0"/>
              <a:t> of the net growth from a regional perspective</a:t>
            </a:r>
          </a:p>
          <a:p>
            <a:pPr marL="266891" indent="-266891">
              <a:buFont typeface="Arial" panose="020B0604020202020204" pitchFamily="34" charset="0"/>
              <a:buChar char="•"/>
            </a:pPr>
            <a:endParaRPr lang="en-US" dirty="0"/>
          </a:p>
          <a:p>
            <a:pPr marL="266891" indent="-266891" defTabSz="836257" eaLnBrk="1" hangingPunct="1">
              <a:buFont typeface="Arial" panose="020B0604020202020204" pitchFamily="34" charset="0"/>
              <a:buChar char="•"/>
              <a:defRPr/>
            </a:pPr>
            <a:r>
              <a:rPr lang="en-US" baseline="0" dirty="0"/>
              <a:t>Chemicals drives growth from the sector perspective, contributing ~60% of total</a:t>
            </a:r>
          </a:p>
          <a:p>
            <a:pPr marL="266891" indent="-266891" defTabSz="836257" eaLnBrk="1" hangingPunct="1">
              <a:buFont typeface="Arial" panose="020B0604020202020204" pitchFamily="34" charset="0"/>
              <a:buChar char="•"/>
              <a:defRPr/>
            </a:pPr>
            <a:endParaRPr lang="en-US" baseline="0" dirty="0"/>
          </a:p>
          <a:p>
            <a:pPr marL="266891" indent="-266891" defTabSz="836257" eaLnBrk="1" hangingPunct="1">
              <a:buFont typeface="Arial" panose="020B0604020202020204" pitchFamily="34" charset="0"/>
              <a:buChar char="•"/>
              <a:defRPr/>
            </a:pPr>
            <a:r>
              <a:rPr lang="en-US" baseline="0" dirty="0"/>
              <a:t>Oil demand for light vehicles and power actually declines between now and 2035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75778" y="7941000"/>
            <a:ext cx="166460" cy="169277"/>
          </a:xfrm>
        </p:spPr>
        <p:txBody>
          <a:bodyPr/>
          <a:lstStyle/>
          <a:p>
            <a:fld id="{0349C835-4209-452F-81A5-39971641ABB0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98938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>
          <a:xfrm>
            <a:off x="965381" y="2985464"/>
            <a:ext cx="11973293" cy="246221"/>
          </a:xfrm>
          <a:noFill/>
        </p:spPr>
        <p:txBody>
          <a:bodyPr/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accent2"/>
                </a:solidFill>
              </a:rPr>
              <a:t>Renewables uptake </a:t>
            </a:r>
            <a:br>
              <a:rPr lang="en-US" sz="1600" b="1" dirty="0">
                <a:solidFill>
                  <a:schemeClr val="accent2"/>
                </a:solidFill>
              </a:rPr>
            </a:br>
            <a:r>
              <a:rPr lang="en-US" sz="1600" dirty="0"/>
              <a:t>Stronger reduction in renewables capex will trigger a disruptive RES uptake case</a:t>
            </a:r>
          </a:p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br>
              <a:rPr lang="en-US" altLang="nl-NL" dirty="0">
                <a:latin typeface="Arial" panose="020B0604020202020204" pitchFamily="34" charset="0"/>
              </a:rPr>
            </a:br>
            <a:r>
              <a:rPr lang="en-US" b="1" dirty="0">
                <a:solidFill>
                  <a:schemeClr val="accent2"/>
                </a:solidFill>
              </a:rPr>
              <a:t>Heat electrification</a:t>
            </a:r>
            <a:br>
              <a:rPr lang="en-US" sz="1600" b="1" dirty="0">
                <a:solidFill>
                  <a:schemeClr val="accent2"/>
                </a:solidFill>
              </a:rPr>
            </a:br>
            <a:r>
              <a:rPr lang="en-US" sz="1600" dirty="0" err="1"/>
              <a:t>Electrification</a:t>
            </a:r>
            <a:r>
              <a:rPr lang="en-US" sz="1600" dirty="0"/>
              <a:t> of low temperature heat, partial electrification of medium and high temperature heat in select regions</a:t>
            </a:r>
          </a:p>
          <a:p>
            <a:endParaRPr lang="en-US" altLang="nl-NL" dirty="0">
              <a:latin typeface="Arial" panose="020B0604020202020204" pitchFamily="34" charset="0"/>
            </a:endParaRPr>
          </a:p>
          <a:p>
            <a:r>
              <a:rPr lang="en-US" b="1" dirty="0">
                <a:solidFill>
                  <a:schemeClr val="accent2"/>
                </a:solidFill>
              </a:rPr>
              <a:t>Heat pumps</a:t>
            </a:r>
          </a:p>
          <a:p>
            <a:r>
              <a:rPr lang="en-US" sz="1600" dirty="0"/>
              <a:t>Uptake of heat pumps in buildings as households replace their heating systems in OECD</a:t>
            </a:r>
          </a:p>
          <a:p>
            <a:endParaRPr lang="en-US" altLang="nl-NL" dirty="0">
              <a:latin typeface="Arial" panose="020B0604020202020204" pitchFamily="34" charset="0"/>
            </a:endParaRPr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12586136" y="5262041"/>
            <a:ext cx="352545" cy="184666"/>
          </a:xfrm>
          <a:noFill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356" indent="-285521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086" indent="-228417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8920" indent="-228417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5754" indent="-228417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2588" indent="-2284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69423" indent="-2284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6257" indent="-2284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091" indent="-22841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43D1F2F-7137-433A-9B82-1BA1B437DEE0}" type="slidenum">
              <a:rPr lang="en-US" altLang="nl-NL" sz="1200">
                <a:solidFill>
                  <a:srgbClr val="000000"/>
                </a:solidFill>
              </a:rPr>
              <a:pPr/>
              <a:t>15</a:t>
            </a:fld>
            <a:endParaRPr lang="en-US" altLang="nl-NL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7363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9068" y="4813571"/>
            <a:ext cx="5567523" cy="246221"/>
          </a:xfrm>
        </p:spPr>
        <p:txBody>
          <a:bodyPr/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dirty="0"/>
              <a:t>This chart has been adapted from </a:t>
            </a:r>
            <a:r>
              <a:rPr lang="en-US" dirty="0" err="1"/>
              <a:t>IEA</a:t>
            </a:r>
            <a:r>
              <a:rPr lang="en-US" dirty="0"/>
              <a:t> data about the levels of CO2 from greenhouse gases required to limit global temperature in 2100 to two degrees Celsius above pre-industrial levels. We took </a:t>
            </a:r>
            <a:r>
              <a:rPr lang="en-US" dirty="0" err="1"/>
              <a:t>IEA</a:t>
            </a:r>
            <a:r>
              <a:rPr lang="en-US" dirty="0"/>
              <a:t> data for 2020, 2030, and 2040 and interpolated midpoints assuming a linear trajectory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397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90739" y="4658167"/>
            <a:ext cx="6091750" cy="246221"/>
          </a:xfrm>
        </p:spPr>
        <p:txBody>
          <a:bodyPr/>
          <a:lstStyle/>
          <a:p>
            <a:endParaRPr lang="en-US">
              <a:latin typeface="Century Gothic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18342" y="8328775"/>
            <a:ext cx="164143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Century Gothic"/>
              </a:rPr>
              <a:pPr>
                <a:defRPr/>
              </a:pPr>
              <a:t>18</a:t>
            </a:fld>
            <a:endParaRPr lang="en-US" dirty="0"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67187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2459" y="4813571"/>
            <a:ext cx="5740711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19938" y="8443015"/>
            <a:ext cx="83230" cy="338554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92168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dirty="0">
                <a:solidFill>
                  <a:schemeClr val="accent2"/>
                </a:solidFill>
                <a:latin typeface="Arial"/>
              </a:rPr>
              <a:t>Primary energy demand</a:t>
            </a:r>
            <a:r>
              <a:rPr lang="en-US" sz="1600" b="1" baseline="30000" dirty="0">
                <a:solidFill>
                  <a:schemeClr val="accent2"/>
                </a:solidFill>
                <a:latin typeface="Arial"/>
              </a:rPr>
              <a:t>1,2</a:t>
            </a:r>
            <a:r>
              <a:rPr lang="en-US" sz="1600" b="1" dirty="0">
                <a:solidFill>
                  <a:schemeClr val="accent2"/>
                </a:solidFill>
                <a:latin typeface="Arial"/>
              </a:rPr>
              <a:t>  </a:t>
            </a:r>
            <a:endParaRPr lang="x-none" sz="1600" b="1" dirty="0">
              <a:solidFill>
                <a:schemeClr val="accent2"/>
              </a:solidFill>
              <a:latin typeface="Arial"/>
            </a:endParaRPr>
          </a:p>
          <a:p>
            <a:r>
              <a:rPr lang="en-US" sz="1600" dirty="0">
                <a:solidFill>
                  <a:srgbClr val="808080"/>
                </a:solidFill>
                <a:latin typeface="Arial"/>
              </a:rPr>
              <a:t>Index, 2014 = 100</a:t>
            </a:r>
            <a:endParaRPr lang="x-none" sz="1600" dirty="0">
              <a:solidFill>
                <a:srgbClr val="808080"/>
              </a:solidFill>
              <a:latin typeface="Arial"/>
            </a:endParaRPr>
          </a:p>
          <a:p>
            <a:endParaRPr lang="en-US" dirty="0"/>
          </a:p>
          <a:p>
            <a:r>
              <a:rPr lang="en-US" dirty="0"/>
              <a:t>1 Primary energy consumption is fuel into power generation and other transformation activities, fuel used in energy sector, and final consumption excluding electricity/heat</a:t>
            </a:r>
          </a:p>
          <a:p>
            <a:r>
              <a:rPr lang="en-US" dirty="0"/>
              <a:t>2 Base years for forecasts; </a:t>
            </a:r>
            <a:r>
              <a:rPr lang="en-US" dirty="0" err="1"/>
              <a:t>GEP</a:t>
            </a:r>
            <a:r>
              <a:rPr lang="en-US" dirty="0"/>
              <a:t>, </a:t>
            </a:r>
            <a:r>
              <a:rPr lang="en-US" dirty="0" err="1"/>
              <a:t>IEA</a:t>
            </a:r>
            <a:r>
              <a:rPr lang="en-US" dirty="0"/>
              <a:t> 2013, Shell 2012, Greenpeace, ExxonMobil 2010. Indexing assumes linear growth between base year and 2014</a:t>
            </a:r>
            <a:br>
              <a:rPr lang="en-US" dirty="0"/>
            </a:br>
            <a:endParaRPr lang="en-US" dirty="0"/>
          </a:p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x-none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SOURCE:</a:t>
            </a:r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	</a:t>
            </a:r>
            <a:r>
              <a:rPr lang="en-US" sz="1600" kern="120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IEA</a:t>
            </a:r>
            <a:r>
              <a:rPr lang="en-US" sz="16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World Energy Outlook 2015, 2017; ExxonMobil Energy Outlook 2015 and 2017, BP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288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81013" y="622300"/>
            <a:ext cx="7762876" cy="4367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2648" y="4926232"/>
            <a:ext cx="5991331" cy="1969770"/>
          </a:xfrm>
        </p:spPr>
        <p:txBody>
          <a:bodyPr/>
          <a:lstStyle/>
          <a:p>
            <a:r>
              <a:rPr lang="en-GB" dirty="0"/>
              <a:t>Looking by region, all energy demand growth comes from non-OECD countries, as main OECD countries in North America, Europe and Asia see declining demand</a:t>
            </a:r>
          </a:p>
          <a:p>
            <a:endParaRPr lang="en-GB" dirty="0"/>
          </a:p>
          <a:p>
            <a:r>
              <a:rPr lang="en-GB" dirty="0"/>
              <a:t>Non-OECD growth is lead by India in both periods (accounting for 30% of growth).</a:t>
            </a:r>
            <a:r>
              <a:rPr lang="en-GB" baseline="0" dirty="0"/>
              <a:t> In </a:t>
            </a:r>
            <a:r>
              <a:rPr lang="en-GB" dirty="0"/>
              <a:t>the second period China’s share in growth declines from 20% to 5%, while Africa doubles its</a:t>
            </a:r>
            <a:r>
              <a:rPr lang="en-GB" baseline="0" dirty="0"/>
              <a:t> impact on energy growth to about 30%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04058" y="8802436"/>
            <a:ext cx="169918" cy="184666"/>
          </a:xfrm>
        </p:spPr>
        <p:txBody>
          <a:bodyPr/>
          <a:lstStyle/>
          <a:p>
            <a:fld id="{A2B26CA7-5FC4-4E43-AA41-252030563062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8176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9777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7686" y="5331229"/>
            <a:ext cx="5763417" cy="246221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464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71450" y="561975"/>
            <a:ext cx="7005638" cy="39401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60956" y="4487690"/>
            <a:ext cx="6445518" cy="2462213"/>
          </a:xfrm>
        </p:spPr>
        <p:txBody>
          <a:bodyPr/>
          <a:lstStyle/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br>
              <a:rPr lang="en-US" baseline="0" dirty="0"/>
            </a:br>
            <a:r>
              <a:rPr lang="en-US" baseline="0" dirty="0" err="1"/>
              <a:t>appr</a:t>
            </a:r>
            <a:r>
              <a:rPr lang="en-US" baseline="0" dirty="0"/>
              <a:t> when solar/wind new build is getting cheaper that using existing gas/coal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f we look take</a:t>
            </a:r>
            <a:r>
              <a:rPr lang="en-US" baseline="0" dirty="0"/>
              <a:t> a granular look at oil demand, the following is evident:</a:t>
            </a:r>
          </a:p>
          <a:p>
            <a:endParaRPr lang="en-US" baseline="0" dirty="0"/>
          </a:p>
          <a:p>
            <a:pPr marL="266891" indent="-266891">
              <a:buFont typeface="Arial" panose="020B0604020202020204" pitchFamily="34" charset="0"/>
              <a:buChar char="•"/>
            </a:pPr>
            <a:r>
              <a:rPr lang="en-US" baseline="0" dirty="0"/>
              <a:t>China &amp; India account for </a:t>
            </a:r>
            <a:r>
              <a:rPr lang="en-US" dirty="0"/>
              <a:t>nearly all</a:t>
            </a:r>
            <a:r>
              <a:rPr lang="en-US" baseline="0" dirty="0"/>
              <a:t> of the net growth from a regional perspective</a:t>
            </a:r>
          </a:p>
          <a:p>
            <a:pPr marL="266891" indent="-266891">
              <a:buFont typeface="Arial" panose="020B0604020202020204" pitchFamily="34" charset="0"/>
              <a:buChar char="•"/>
            </a:pPr>
            <a:endParaRPr lang="en-US" dirty="0"/>
          </a:p>
          <a:p>
            <a:pPr marL="266891" indent="-266891" defTabSz="836257" eaLnBrk="1" hangingPunct="1">
              <a:buFont typeface="Arial" panose="020B0604020202020204" pitchFamily="34" charset="0"/>
              <a:buChar char="•"/>
              <a:defRPr/>
            </a:pPr>
            <a:r>
              <a:rPr lang="en-US" baseline="0" dirty="0"/>
              <a:t>Chemicals drives growth from the sector perspective, contributing ~60% of total</a:t>
            </a:r>
          </a:p>
          <a:p>
            <a:pPr marL="266891" indent="-266891" defTabSz="836257" eaLnBrk="1" hangingPunct="1">
              <a:buFont typeface="Arial" panose="020B0604020202020204" pitchFamily="34" charset="0"/>
              <a:buChar char="•"/>
              <a:defRPr/>
            </a:pPr>
            <a:endParaRPr lang="en-US" baseline="0" dirty="0"/>
          </a:p>
          <a:p>
            <a:pPr marL="266891" lvl="0" indent="-266891" defTabSz="836257" eaLnBrk="1" hangingPunct="1">
              <a:buFont typeface="Arial" panose="020B0604020202020204" pitchFamily="34" charset="0"/>
              <a:buChar char="•"/>
              <a:defRPr/>
            </a:pPr>
            <a:r>
              <a:rPr lang="en-US" baseline="0" dirty="0"/>
              <a:t>Oil demand for light vehicles and power actually declines between now and 2035!</a:t>
            </a:r>
            <a:br>
              <a:rPr lang="en-US" baseline="0" dirty="0"/>
            </a:b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75778" y="7941000"/>
            <a:ext cx="166460" cy="169277"/>
          </a:xfrm>
        </p:spPr>
        <p:txBody>
          <a:bodyPr/>
          <a:lstStyle/>
          <a:p>
            <a:fld id="{0349C835-4209-452F-81A5-39971641ABB0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52671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Arial" charset="0"/>
              </a:defRPr>
            </a:lvl1pPr>
            <a:lvl2pPr marL="731543" indent="-281363" eaLnBrk="0" hangingPunct="0">
              <a:defRPr sz="1500">
                <a:solidFill>
                  <a:schemeClr val="tx1"/>
                </a:solidFill>
                <a:latin typeface="Arial" charset="0"/>
              </a:defRPr>
            </a:lvl2pPr>
            <a:lvl3pPr marL="1125449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3pPr>
            <a:lvl4pPr marL="1575628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4pPr>
            <a:lvl5pPr marL="2025810" indent="-225091" eaLnBrk="0" hangingPunct="0">
              <a:defRPr sz="1500">
                <a:solidFill>
                  <a:schemeClr val="tx1"/>
                </a:solidFill>
                <a:latin typeface="Arial" charset="0"/>
              </a:defRPr>
            </a:lvl5pPr>
            <a:lvl6pPr marL="2475989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6pPr>
            <a:lvl7pPr marL="2926167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7pPr>
            <a:lvl8pPr marL="3376346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8pPr>
            <a:lvl9pPr marL="3826528" indent="-22509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32C2DEB-D949-4B45-BBCA-1A46194AA2CB}" type="slidenum">
              <a:rPr lang="en-US" sz="1200">
                <a:solidFill>
                  <a:srgbClr val="000000"/>
                </a:solidFill>
              </a:rPr>
              <a:pPr eaLnBrk="1" hangingPunct="1"/>
              <a:t>12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1223" y="6071631"/>
            <a:ext cx="5169181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010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906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5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82.xml"/><Relationship Id="rId7" Type="http://schemas.openxmlformats.org/officeDocument/2006/relationships/image" Target="../media/image2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8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24.jp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8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626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0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89"/>
            <a:ext cx="10969498" cy="40011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pos="99" userDrawn="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ssag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688014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41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hape_1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1935" y="1"/>
            <a:ext cx="6811995" cy="6724852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gray">
          <a:xfrm>
            <a:off x="1" y="0"/>
            <a:ext cx="5244727" cy="67248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49101" y="2603475"/>
            <a:ext cx="4253736" cy="800219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62052" y="-29029"/>
            <a:ext cx="1716735" cy="1567543"/>
          </a:xfrm>
          <a:prstGeom prst="rect">
            <a:avLst/>
          </a:prstGeom>
        </p:spPr>
      </p:pic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97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essage Slide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396777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8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" y="317"/>
            <a:ext cx="11948160" cy="672084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1" y="0"/>
            <a:ext cx="5078877" cy="3181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gray">
          <a:xfrm>
            <a:off x="9220609" y="4743450"/>
            <a:ext cx="2728506" cy="1978025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22" name="2. Slide Title"/>
          <p:cNvSpPr>
            <a:spLocks noGrp="1"/>
          </p:cNvSpPr>
          <p:nvPr>
            <p:ph type="title"/>
          </p:nvPr>
        </p:nvSpPr>
        <p:spPr bwMode="gray">
          <a:xfrm>
            <a:off x="449102" y="1009303"/>
            <a:ext cx="4253736" cy="800219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24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62052" y="-29029"/>
            <a:ext cx="1716735" cy="1567543"/>
          </a:xfrm>
          <a:prstGeom prst="rect">
            <a:avLst/>
          </a:prstGeom>
        </p:spPr>
      </p:pic>
      <p:pic>
        <p:nvPicPr>
          <p:cNvPr id="14" name="Picture 13"/>
          <p:cNvPicPr>
            <a:picLocks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07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07269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322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 userDrawn="1"/>
        </p:nvSpPr>
        <p:spPr bwMode="invGray">
          <a:xfrm>
            <a:off x="5647080" y="3"/>
            <a:ext cx="6302032" cy="6721472"/>
          </a:xfrm>
          <a:custGeom>
            <a:avLst/>
            <a:gdLst>
              <a:gd name="connsiteX0" fmla="*/ 0 w 6302032"/>
              <a:gd name="connsiteY0" fmla="*/ 0 h 6721472"/>
              <a:gd name="connsiteX1" fmla="*/ 1180197 w 6302032"/>
              <a:gd name="connsiteY1" fmla="*/ 0 h 6721472"/>
              <a:gd name="connsiteX2" fmla="*/ 5226865 w 6302032"/>
              <a:gd name="connsiteY2" fmla="*/ 0 h 6721472"/>
              <a:gd name="connsiteX3" fmla="*/ 6302032 w 6302032"/>
              <a:gd name="connsiteY3" fmla="*/ 0 h 6721472"/>
              <a:gd name="connsiteX4" fmla="*/ 6302032 w 6302032"/>
              <a:gd name="connsiteY4" fmla="*/ 6721472 h 6721472"/>
              <a:gd name="connsiteX5" fmla="*/ 5226865 w 6302032"/>
              <a:gd name="connsiteY5" fmla="*/ 6721472 h 6721472"/>
              <a:gd name="connsiteX6" fmla="*/ 1211711 w 6302032"/>
              <a:gd name="connsiteY6" fmla="*/ 6721472 h 6721472"/>
              <a:gd name="connsiteX7" fmla="*/ 32161 w 6302032"/>
              <a:gd name="connsiteY7" fmla="*/ 6721472 h 6721472"/>
              <a:gd name="connsiteX8" fmla="*/ 1951747 w 6302032"/>
              <a:gd name="connsiteY8" fmla="*/ 3362399 h 6721472"/>
              <a:gd name="connsiteX9" fmla="*/ 0 w 6302032"/>
              <a:gd name="connsiteY9" fmla="*/ 0 h 6721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02032" h="6721472">
                <a:moveTo>
                  <a:pt x="0" y="0"/>
                </a:moveTo>
                <a:lnTo>
                  <a:pt x="1180197" y="0"/>
                </a:lnTo>
                <a:lnTo>
                  <a:pt x="5226865" y="0"/>
                </a:lnTo>
                <a:lnTo>
                  <a:pt x="6302032" y="0"/>
                </a:lnTo>
                <a:lnTo>
                  <a:pt x="6302032" y="6721472"/>
                </a:lnTo>
                <a:lnTo>
                  <a:pt x="5226865" y="6721472"/>
                </a:lnTo>
                <a:lnTo>
                  <a:pt x="1211711" y="6721472"/>
                </a:lnTo>
                <a:lnTo>
                  <a:pt x="32161" y="6721472"/>
                </a:lnTo>
                <a:lnTo>
                  <a:pt x="1951747" y="3362399"/>
                </a:lnTo>
                <a:cubicBezTo>
                  <a:pt x="1287060" y="2241600"/>
                  <a:pt x="664688" y="1120800"/>
                  <a:pt x="0" y="0"/>
                </a:cubicBezTo>
                <a:close/>
              </a:path>
            </a:pathLst>
          </a:custGeom>
          <a:solidFill>
            <a:srgbClr val="0070C0">
              <a:alpha val="37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invGray">
          <a:xfrm>
            <a:off x="475489" y="230190"/>
            <a:ext cx="4522862" cy="400110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invGray">
          <a:xfrm>
            <a:off x="476251" y="1619251"/>
            <a:ext cx="5461000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77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invGray">
          <a:xfrm>
            <a:off x="475489" y="230189"/>
            <a:ext cx="8852773" cy="400110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invGray">
          <a:xfrm>
            <a:off x="476251" y="1619251"/>
            <a:ext cx="9118600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72700" y="-29029"/>
            <a:ext cx="1806088" cy="1567543"/>
          </a:xfrm>
          <a:prstGeom prst="rect">
            <a:avLst/>
          </a:prstGeom>
        </p:spPr>
      </p:pic>
      <p:pic>
        <p:nvPicPr>
          <p:cNvPr id="9" name="Picture 8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0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388595" y="2162629"/>
            <a:ext cx="9296812" cy="213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39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595" y="2162629"/>
            <a:ext cx="9296812" cy="213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6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372" b="14624"/>
          <a:stretch/>
        </p:blipFill>
        <p:spPr>
          <a:xfrm>
            <a:off x="0" y="1"/>
            <a:ext cx="11949113" cy="6721475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</p:spPr>
      </p:pic>
      <p:sp>
        <p:nvSpPr>
          <p:cNvPr id="13" name="Rectangle 12"/>
          <p:cNvSpPr/>
          <p:nvPr userDrawn="1"/>
        </p:nvSpPr>
        <p:spPr bwMode="invGray">
          <a:xfrm>
            <a:off x="0" y="0"/>
            <a:ext cx="6655095" cy="24384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420907" y="759309"/>
            <a:ext cx="4756477" cy="886397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4" name="L-Shape 3"/>
          <p:cNvSpPr/>
          <p:nvPr userDrawn="1"/>
        </p:nvSpPr>
        <p:spPr bwMode="ltGray">
          <a:xfrm flipH="1">
            <a:off x="7975953" y="4013201"/>
            <a:ext cx="3973160" cy="2708275"/>
          </a:xfrm>
          <a:prstGeom prst="corner">
            <a:avLst>
              <a:gd name="adj1" fmla="val 57208"/>
              <a:gd name="adj2" fmla="val 3721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47826" y="5628641"/>
            <a:ext cx="3229415" cy="591185"/>
          </a:xfrm>
          <a:prstGeom prst="rect">
            <a:avLst/>
          </a:prstGeom>
        </p:spPr>
      </p:pic>
      <p:sp>
        <p:nvSpPr>
          <p:cNvPr id="9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20907" y="1779301"/>
            <a:ext cx="4756477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GB"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Document type" hidden="1"/>
          <p:cNvSpPr txBox="1">
            <a:spLocks noChangeArrowheads="1"/>
          </p:cNvSpPr>
          <p:nvPr userDrawn="1"/>
        </p:nvSpPr>
        <p:spPr bwMode="auto">
          <a:xfrm>
            <a:off x="420907" y="2097564"/>
            <a:ext cx="475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sz="1200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auto">
          <a:xfrm>
            <a:off x="475488" y="6385162"/>
            <a:ext cx="3286156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t" anchorCtr="0">
            <a:sp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</a:t>
            </a:r>
          </a:p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7874349" y="6223001"/>
            <a:ext cx="881652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5" name="Working Draft" hidden="1"/>
          <p:cNvSpPr txBox="1"/>
          <p:nvPr userDrawn="1"/>
        </p:nvSpPr>
        <p:spPr>
          <a:xfrm>
            <a:off x="7874349" y="6350001"/>
            <a:ext cx="261289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30/2017 8:51 PM Pacific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7874349" y="6477001"/>
            <a:ext cx="2689839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Printed 10/3/2017 2:19 PM Pacific Standard Time (Mexico)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97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933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93" name="think-cell Slide" r:id="rId4" imgW="231" imgH="232" progId="TCLayout.ActiveDocument.1">
                  <p:embed/>
                </p:oleObj>
              </mc:Choice>
              <mc:Fallback>
                <p:oleObj name="think-cell Slide" r:id="rId4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88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777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4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88" y="230189"/>
            <a:ext cx="10969498" cy="400110"/>
          </a:xfrm>
        </p:spPr>
        <p:txBody>
          <a:bodyPr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10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362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/>
          </p:cNvPicPr>
          <p:nvPr userDrawn="1"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3175" y="-6348"/>
            <a:ext cx="11949113" cy="6721475"/>
          </a:xfrm>
          <a:prstGeom prst="rect">
            <a:avLst/>
          </a:prstGeom>
        </p:spPr>
      </p:pic>
      <p:sp>
        <p:nvSpPr>
          <p:cNvPr id="2" name="Rectangle 1"/>
          <p:cNvSpPr>
            <a:spLocks/>
          </p:cNvSpPr>
          <p:nvPr userDrawn="1"/>
        </p:nvSpPr>
        <p:spPr bwMode="invGray">
          <a:xfrm>
            <a:off x="0" y="-6349"/>
            <a:ext cx="11949113" cy="6721475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2960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537825" y="6460655"/>
            <a:ext cx="797448" cy="194593"/>
          </a:xfrm>
          <a:prstGeom prst="rect">
            <a:avLst/>
          </a:prstGeom>
        </p:spPr>
      </p:pic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9" name="2. Slide Title"/>
          <p:cNvSpPr>
            <a:spLocks noGrp="1"/>
          </p:cNvSpPr>
          <p:nvPr>
            <p:ph type="title"/>
          </p:nvPr>
        </p:nvSpPr>
        <p:spPr bwMode="invGray">
          <a:xfrm>
            <a:off x="475488" y="230189"/>
            <a:ext cx="10969498" cy="400110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73126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28183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3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/>
          </p:cNvPicPr>
          <p:nvPr userDrawn="1"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3175" y="-6348"/>
            <a:ext cx="11949113" cy="6721475"/>
          </a:xfrm>
          <a:prstGeom prst="rect">
            <a:avLst/>
          </a:prstGeom>
        </p:spPr>
      </p:pic>
      <p:sp>
        <p:nvSpPr>
          <p:cNvPr id="2" name="Rectangle 1"/>
          <p:cNvSpPr>
            <a:spLocks/>
          </p:cNvSpPr>
          <p:nvPr userDrawn="1"/>
        </p:nvSpPr>
        <p:spPr bwMode="invGray">
          <a:xfrm>
            <a:off x="0" y="-6349"/>
            <a:ext cx="11949113" cy="6721475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2. Slide Title"/>
          <p:cNvSpPr>
            <a:spLocks noGrp="1"/>
          </p:cNvSpPr>
          <p:nvPr>
            <p:ph type="title"/>
          </p:nvPr>
        </p:nvSpPr>
        <p:spPr bwMode="invGray">
          <a:xfrm>
            <a:off x="475488" y="230189"/>
            <a:ext cx="10969498" cy="400110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386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/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89" y="1619251"/>
            <a:ext cx="9119362" cy="12439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19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410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90" y="1619251"/>
            <a:ext cx="530442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937251" y="1619251"/>
            <a:ext cx="5348287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476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434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205345" y="230189"/>
            <a:ext cx="7239641" cy="400110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89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1"/>
          </p:nvPr>
        </p:nvSpPr>
        <p:spPr bwMode="gray">
          <a:xfrm>
            <a:off x="7935203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2"/>
          </p:nvPr>
        </p:nvSpPr>
        <p:spPr bwMode="gray">
          <a:xfrm>
            <a:off x="4205346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49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45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90" y="2057623"/>
            <a:ext cx="3949223" cy="984885"/>
          </a:xfrm>
          <a:solidFill>
            <a:schemeClr val="bg1"/>
          </a:solidFill>
        </p:spPr>
        <p:txBody>
          <a:bodyPr wrap="square" lIns="0" tIns="91440" rIns="91440" bIns="91440" anchor="ctr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5755341" y="991721"/>
            <a:ext cx="3821579" cy="1428596"/>
          </a:xfrm>
          <a:solidFill>
            <a:schemeClr val="bg1"/>
          </a:solidFill>
        </p:spPr>
        <p:txBody>
          <a:bodyPr wrap="square" lIns="91440" tIns="91440" rIns="91440" bIns="9144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pic>
        <p:nvPicPr>
          <p:cNvPr id="11" name="Picture 10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95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482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90" y="1306490"/>
            <a:ext cx="7527061" cy="877163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sz="45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0" y="3915327"/>
            <a:ext cx="3106057" cy="2806149"/>
            <a:chOff x="0" y="3915326"/>
            <a:chExt cx="3483429" cy="2806149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381" y="3915326"/>
              <a:ext cx="3245709" cy="2806149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gray">
            <a:xfrm>
              <a:off x="0" y="3915326"/>
              <a:ext cx="3483429" cy="2806149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2960"/>
                </a:solidFill>
              </a:endParaRPr>
            </a:p>
          </p:txBody>
        </p:sp>
      </p:grpSp>
      <p:pic>
        <p:nvPicPr>
          <p:cNvPr id="13" name="Picture 12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37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right alig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506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3232152" y="1075089"/>
            <a:ext cx="8312807" cy="807913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lang="x-none" sz="405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002960"/>
                </a:solidFill>
              </a:rPr>
              <a:pPr/>
              <a:t>‹#›</a:t>
            </a:fld>
            <a:endParaRPr sz="800" dirty="0">
              <a:solidFill>
                <a:srgbClr val="002960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0" y="3915327"/>
            <a:ext cx="3106057" cy="2806149"/>
            <a:chOff x="0" y="3915326"/>
            <a:chExt cx="3483429" cy="2806149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381" y="3915326"/>
              <a:ext cx="3245709" cy="2806149"/>
            </a:xfrm>
            <a:prstGeom prst="rect">
              <a:avLst/>
            </a:prstGeom>
          </p:spPr>
        </p:pic>
        <p:sp>
          <p:nvSpPr>
            <p:cNvPr id="16" name="Rectangle 15"/>
            <p:cNvSpPr/>
            <p:nvPr userDrawn="1"/>
          </p:nvSpPr>
          <p:spPr bwMode="gray">
            <a:xfrm>
              <a:off x="0" y="3915326"/>
              <a:ext cx="3483429" cy="2806149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2960"/>
                </a:solidFill>
              </a:endParaRPr>
            </a:p>
          </p:txBody>
        </p:sp>
      </p:grpSp>
      <p:pic>
        <p:nvPicPr>
          <p:cNvPr id="11" name="Picture 10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05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lu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530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75490" y="1306490"/>
            <a:ext cx="7527061" cy="877163"/>
          </a:xfrm>
          <a:solidFill>
            <a:schemeClr val="tx1"/>
          </a:solidFill>
          <a:ln>
            <a:noFill/>
          </a:ln>
          <a:effectLst/>
          <a:extLst/>
        </p:spPr>
        <p:txBody>
          <a:bodyPr vert="horz" wrap="non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sz="45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2123" y="3915327"/>
            <a:ext cx="2894090" cy="280614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invGray">
          <a:xfrm>
            <a:off x="0" y="3915327"/>
            <a:ext cx="3106057" cy="2806149"/>
          </a:xfrm>
          <a:prstGeom prst="rect">
            <a:avLst/>
          </a:prstGeom>
          <a:solidFill>
            <a:schemeClr val="tx1">
              <a:alpha val="6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2960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0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ssag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39075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79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833" y="-3493"/>
            <a:ext cx="6812280" cy="672846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gray">
          <a:xfrm>
            <a:off x="1" y="0"/>
            <a:ext cx="5244727" cy="672485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296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49101" y="2603475"/>
            <a:ext cx="4253736" cy="800219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62052" y="-29029"/>
            <a:ext cx="1716735" cy="1567543"/>
          </a:xfrm>
          <a:prstGeom prst="rect">
            <a:avLst/>
          </a:prstGeom>
        </p:spPr>
      </p:pic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13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ssage Slide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651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sp>
        <p:nvSpPr>
          <p:cNvPr id="17" name="2. Slide Title"/>
          <p:cNvSpPr>
            <a:spLocks noGrp="1"/>
          </p:cNvSpPr>
          <p:nvPr>
            <p:ph type="title"/>
          </p:nvPr>
        </p:nvSpPr>
        <p:spPr bwMode="gray">
          <a:xfrm>
            <a:off x="6768621" y="2603475"/>
            <a:ext cx="4253736" cy="800219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pic>
        <p:nvPicPr>
          <p:cNvPr id="13" name="Picture 12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52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1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 userDrawn="1"/>
        </p:nvSpPr>
        <p:spPr bwMode="invGray">
          <a:xfrm>
            <a:off x="5647080" y="3"/>
            <a:ext cx="6302032" cy="6721472"/>
          </a:xfrm>
          <a:custGeom>
            <a:avLst/>
            <a:gdLst>
              <a:gd name="connsiteX0" fmla="*/ 0 w 6302032"/>
              <a:gd name="connsiteY0" fmla="*/ 0 h 6721472"/>
              <a:gd name="connsiteX1" fmla="*/ 1180197 w 6302032"/>
              <a:gd name="connsiteY1" fmla="*/ 0 h 6721472"/>
              <a:gd name="connsiteX2" fmla="*/ 5226865 w 6302032"/>
              <a:gd name="connsiteY2" fmla="*/ 0 h 6721472"/>
              <a:gd name="connsiteX3" fmla="*/ 6302032 w 6302032"/>
              <a:gd name="connsiteY3" fmla="*/ 0 h 6721472"/>
              <a:gd name="connsiteX4" fmla="*/ 6302032 w 6302032"/>
              <a:gd name="connsiteY4" fmla="*/ 6721472 h 6721472"/>
              <a:gd name="connsiteX5" fmla="*/ 5226865 w 6302032"/>
              <a:gd name="connsiteY5" fmla="*/ 6721472 h 6721472"/>
              <a:gd name="connsiteX6" fmla="*/ 1211711 w 6302032"/>
              <a:gd name="connsiteY6" fmla="*/ 6721472 h 6721472"/>
              <a:gd name="connsiteX7" fmla="*/ 32161 w 6302032"/>
              <a:gd name="connsiteY7" fmla="*/ 6721472 h 6721472"/>
              <a:gd name="connsiteX8" fmla="*/ 1951747 w 6302032"/>
              <a:gd name="connsiteY8" fmla="*/ 3362399 h 6721472"/>
              <a:gd name="connsiteX9" fmla="*/ 0 w 6302032"/>
              <a:gd name="connsiteY9" fmla="*/ 0 h 6721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02032" h="6721472">
                <a:moveTo>
                  <a:pt x="0" y="0"/>
                </a:moveTo>
                <a:lnTo>
                  <a:pt x="1180197" y="0"/>
                </a:lnTo>
                <a:lnTo>
                  <a:pt x="5226865" y="0"/>
                </a:lnTo>
                <a:lnTo>
                  <a:pt x="6302032" y="0"/>
                </a:lnTo>
                <a:lnTo>
                  <a:pt x="6302032" y="6721472"/>
                </a:lnTo>
                <a:lnTo>
                  <a:pt x="5226865" y="6721472"/>
                </a:lnTo>
                <a:lnTo>
                  <a:pt x="1211711" y="6721472"/>
                </a:lnTo>
                <a:lnTo>
                  <a:pt x="32161" y="6721472"/>
                </a:lnTo>
                <a:lnTo>
                  <a:pt x="1951747" y="3362399"/>
                </a:lnTo>
                <a:cubicBezTo>
                  <a:pt x="1287060" y="2241600"/>
                  <a:pt x="664688" y="1120800"/>
                  <a:pt x="0" y="0"/>
                </a:cubicBezTo>
                <a:close/>
              </a:path>
            </a:pathLst>
          </a:custGeom>
          <a:solidFill>
            <a:srgbClr val="0070C0">
              <a:alpha val="37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200" dirty="0" err="1">
              <a:solidFill>
                <a:srgbClr val="002960"/>
              </a:solidFill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invGray">
          <a:xfrm>
            <a:off x="475489" y="230190"/>
            <a:ext cx="4522862" cy="400110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invGray">
          <a:xfrm>
            <a:off x="476251" y="1619251"/>
            <a:ext cx="5461000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pic>
        <p:nvPicPr>
          <p:cNvPr id="10" name="Picture 9"/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84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754319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/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89" y="1619251"/>
            <a:ext cx="9119362" cy="124393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475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invGray">
          <a:xfrm>
            <a:off x="475489" y="230189"/>
            <a:ext cx="8852773" cy="400110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invGray">
          <a:xfrm>
            <a:off x="476251" y="1619251"/>
            <a:ext cx="9118600" cy="1243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fld id="{42C328C1-A84F-4A39-A664-DBA00541A8C6}" type="slidenum">
              <a:rPr sz="800" smtClean="0">
                <a:solidFill>
                  <a:srgbClr val="FFFFFF"/>
                </a:solidFill>
              </a:rPr>
              <a:pPr/>
              <a:t>‹#›</a:t>
            </a:fld>
            <a:endParaRPr sz="800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172700" y="-29029"/>
            <a:ext cx="1806088" cy="1567543"/>
          </a:xfrm>
          <a:prstGeom prst="rect">
            <a:avLst/>
          </a:prstGeom>
        </p:spPr>
      </p:pic>
      <p:pic>
        <p:nvPicPr>
          <p:cNvPr id="9" name="Picture 8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54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388595" y="2162629"/>
            <a:ext cx="9296812" cy="213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45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595" y="2162629"/>
            <a:ext cx="9296812" cy="213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76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41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98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C5C5C5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C5C5C5">
                  <a:lumMod val="75000"/>
                </a:srgbClr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>
                <a:solidFill>
                  <a:srgbClr val="C5C5C5">
                    <a:lumMod val="75000"/>
                  </a:srgbClr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6522977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85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09" name="think-cell Slide" r:id="rId5" imgW="251" imgH="251" progId="TCLayout.ActiveDocument.1">
                  <p:embed/>
                </p:oleObj>
              </mc:Choice>
              <mc:Fallback>
                <p:oleObj name="think-cell Slide" r:id="rId5" imgW="251" imgH="2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11" y="1674477"/>
            <a:ext cx="11491891" cy="430887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87932" y="640080"/>
            <a:ext cx="4173249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4913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C5C5C5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C5C5C5">
                  <a:lumMod val="75000"/>
                </a:srgbClr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>
                <a:solidFill>
                  <a:srgbClr val="C5C5C5">
                    <a:lumMod val="75000"/>
                  </a:srgbClr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368298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3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C5C5C5">
                    <a:lumMod val="75000"/>
                  </a:srgbClr>
                </a:solidFill>
              </a:rPr>
              <a:pPr/>
              <a:t>‹#›</a:t>
            </a:fld>
            <a:endParaRPr lang="en-US" sz="800" dirty="0">
              <a:solidFill>
                <a:srgbClr val="C5C5C5">
                  <a:lumMod val="75000"/>
                </a:srgbClr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dirty="0">
                <a:solidFill>
                  <a:srgbClr val="C5C5C5">
                    <a:lumMod val="75000"/>
                  </a:srgbClr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8851539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372" b="14624"/>
          <a:stretch/>
        </p:blipFill>
        <p:spPr>
          <a:xfrm>
            <a:off x="0" y="1"/>
            <a:ext cx="11949113" cy="6721475"/>
          </a:xfrm>
          <a:prstGeom prst="rect">
            <a:avLst/>
          </a:prstGeom>
          <a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</p:spPr>
      </p:pic>
      <p:sp>
        <p:nvSpPr>
          <p:cNvPr id="13" name="Rectangle 12"/>
          <p:cNvSpPr/>
          <p:nvPr userDrawn="1"/>
        </p:nvSpPr>
        <p:spPr bwMode="invGray">
          <a:xfrm>
            <a:off x="0" y="0"/>
            <a:ext cx="6655095" cy="24384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L-Shape 3"/>
          <p:cNvSpPr/>
          <p:nvPr userDrawn="1"/>
        </p:nvSpPr>
        <p:spPr bwMode="ltGray">
          <a:xfrm flipH="1">
            <a:off x="8955313" y="4013201"/>
            <a:ext cx="2993799" cy="2708275"/>
          </a:xfrm>
          <a:prstGeom prst="corner">
            <a:avLst>
              <a:gd name="adj1" fmla="val 57208"/>
              <a:gd name="adj2" fmla="val 3721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420907" y="759309"/>
            <a:ext cx="4756477" cy="886397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90000"/>
              </a:lnSpc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9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20907" y="1779301"/>
            <a:ext cx="4756477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GB"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Document type" hidden="1"/>
          <p:cNvSpPr txBox="1">
            <a:spLocks noChangeArrowheads="1"/>
          </p:cNvSpPr>
          <p:nvPr userDrawn="1"/>
        </p:nvSpPr>
        <p:spPr bwMode="auto">
          <a:xfrm>
            <a:off x="420907" y="2097564"/>
            <a:ext cx="475647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en-GB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en-GB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en-GB"/>
            </a:pPr>
            <a:r>
              <a:rPr sz="1200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auto">
          <a:xfrm>
            <a:off x="475488" y="6385162"/>
            <a:ext cx="3286156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t" anchorCtr="0">
            <a:sp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</a:t>
            </a:r>
          </a:p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7874349" y="6223001"/>
            <a:ext cx="881652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 b="1">
                <a:solidFill>
                  <a:srgbClr val="FFFFFF"/>
                </a:solidFill>
              </a:rPr>
              <a:t>WORKING DRAFT</a:t>
            </a: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5" name="Working Draft" hidden="1"/>
          <p:cNvSpPr txBox="1"/>
          <p:nvPr userDrawn="1"/>
        </p:nvSpPr>
        <p:spPr>
          <a:xfrm>
            <a:off x="7874349" y="6350001"/>
            <a:ext cx="2612895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Last Modified 11/30/2017 8:51 PM Pacific Standard Time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7874349" y="6477001"/>
            <a:ext cx="2689839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lang="en-US" sz="800">
                <a:solidFill>
                  <a:srgbClr val="FFFFFF"/>
                </a:solidFill>
              </a:rPr>
              <a:t>Printed 10/3/2017 2:19 PM Pacific Standard Time (Mexico)</a:t>
            </a:r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24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424" y="1"/>
            <a:ext cx="9169806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7990646" y="6410649"/>
            <a:ext cx="39584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</a:rPr>
              <a:t>Last Modified 11/30/2017 8:51 PM Pacific Standard Time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</a:rPr>
              <a:t>Printed 10/3/2017 2:19 PM Pacific Standard Time (Mexico)</a:t>
            </a: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2218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488" y="150654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489" y="6410649"/>
            <a:ext cx="47261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7492897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4020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1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38929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139945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86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90" y="1619251"/>
            <a:ext cx="530442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5937251" y="1619251"/>
            <a:ext cx="5348287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334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156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618" name="think-cell Slide" r:id="rId5" imgW="231" imgH="232" progId="TCLayout.ActiveDocument.1">
                  <p:embed/>
                </p:oleObj>
              </mc:Choice>
              <mc:Fallback>
                <p:oleObj name="think-cell Slide" r:id="rId5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148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866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641" name="think-cell Slide" r:id="rId4" imgW="231" imgH="232" progId="TCLayout.ActiveDocument.1">
                  <p:embed/>
                </p:oleObj>
              </mc:Choice>
              <mc:Fallback>
                <p:oleObj name="think-cell Slide" r:id="rId4" imgW="231" imgH="23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6508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686531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25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205345" y="230189"/>
            <a:ext cx="7239641" cy="400110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475489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1"/>
          </p:nvPr>
        </p:nvSpPr>
        <p:spPr bwMode="gray">
          <a:xfrm>
            <a:off x="7935203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2"/>
          </p:nvPr>
        </p:nvSpPr>
        <p:spPr bwMode="gray">
          <a:xfrm>
            <a:off x="4205346" y="1619251"/>
            <a:ext cx="3509783" cy="1243930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584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006677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970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90" y="2057623"/>
            <a:ext cx="3949223" cy="984885"/>
          </a:xfrm>
          <a:solidFill>
            <a:schemeClr val="bg1"/>
          </a:solidFill>
        </p:spPr>
        <p:txBody>
          <a:bodyPr wrap="square" lIns="0" tIns="91440" rIns="91440" bIns="91440" anchor="ctr" anchorCtr="0">
            <a:spAutoFit/>
          </a:bodyPr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5755341" y="991721"/>
            <a:ext cx="3821579" cy="1428596"/>
          </a:xfrm>
          <a:solidFill>
            <a:schemeClr val="bg1"/>
          </a:solidFill>
        </p:spPr>
        <p:txBody>
          <a:bodyPr wrap="square" lIns="91440" tIns="91440" rIns="91440" bIns="9144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239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14091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02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475490" y="1306490"/>
            <a:ext cx="7527061" cy="877163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non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sz="45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  <p:grpSp>
        <p:nvGrpSpPr>
          <p:cNvPr id="11" name="Group 10"/>
          <p:cNvGrpSpPr/>
          <p:nvPr userDrawn="1"/>
        </p:nvGrpSpPr>
        <p:grpSpPr bwMode="gray">
          <a:xfrm>
            <a:off x="0" y="3915327"/>
            <a:ext cx="3106057" cy="2806149"/>
            <a:chOff x="0" y="3915326"/>
            <a:chExt cx="3483429" cy="2806149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381" y="3915326"/>
              <a:ext cx="3245709" cy="2806149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 bwMode="gray">
            <a:xfrm>
              <a:off x="0" y="3915326"/>
              <a:ext cx="3483429" cy="2806149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95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right alig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944410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18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3232152" y="1075089"/>
            <a:ext cx="8312807" cy="807913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lang="x-none" sz="405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accent4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accent4"/>
              </a:solidFill>
              <a:latin typeface="+mn-lt"/>
            </a:endParaRPr>
          </a:p>
        </p:txBody>
      </p:sp>
      <p:grpSp>
        <p:nvGrpSpPr>
          <p:cNvPr id="14" name="Group 13"/>
          <p:cNvGrpSpPr/>
          <p:nvPr userDrawn="1"/>
        </p:nvGrpSpPr>
        <p:grpSpPr bwMode="gray">
          <a:xfrm>
            <a:off x="0" y="3915327"/>
            <a:ext cx="3106057" cy="2806149"/>
            <a:chOff x="0" y="3915326"/>
            <a:chExt cx="3483429" cy="2806149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381" y="3915326"/>
              <a:ext cx="3245709" cy="2806149"/>
            </a:xfrm>
            <a:prstGeom prst="rect">
              <a:avLst/>
            </a:prstGeom>
          </p:spPr>
        </p:pic>
        <p:sp>
          <p:nvSpPr>
            <p:cNvPr id="16" name="Rectangle 15"/>
            <p:cNvSpPr/>
            <p:nvPr userDrawn="1"/>
          </p:nvSpPr>
          <p:spPr bwMode="gray">
            <a:xfrm>
              <a:off x="0" y="3915326"/>
              <a:ext cx="3483429" cy="2806149"/>
            </a:xfrm>
            <a:prstGeom prst="rect">
              <a:avLst/>
            </a:prstGeom>
            <a:solidFill>
              <a:schemeClr val="bg1">
                <a:alpha val="6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839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lue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2362453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205" name="think-cell Slide" r:id="rId4" imgW="439" imgH="438" progId="TCLayout.ActiveDocument.1">
                  <p:embed/>
                </p:oleObj>
              </mc:Choice>
              <mc:Fallback>
                <p:oleObj name="think-cell Slide" r:id="rId4" imgW="439" imgH="4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 userDrawn="1"/>
        </p:nvSpPr>
        <p:spPr bwMode="invGray">
          <a:xfrm>
            <a:off x="10457645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475490" y="1306490"/>
            <a:ext cx="7527061" cy="877163"/>
          </a:xfrm>
          <a:solidFill>
            <a:schemeClr val="tx1"/>
          </a:solidFill>
          <a:ln>
            <a:noFill/>
          </a:ln>
          <a:effectLst/>
          <a:extLst/>
        </p:spPr>
        <p:txBody>
          <a:bodyPr vert="horz" wrap="none" lIns="0" tIns="91440" rIns="91440" bIns="9144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x-none" sz="45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invGray">
          <a:xfrm>
            <a:off x="11419923" y="6460655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00" smtClean="0">
                <a:solidFill>
                  <a:schemeClr val="bg1"/>
                </a:solidFill>
                <a:latin typeface="+mn-lt"/>
              </a:rPr>
              <a:pPr lvl="0"/>
              <a:t>‹#›</a:t>
            </a:fld>
            <a:endParaRPr lang="x-none" sz="8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2123" y="3915327"/>
            <a:ext cx="2894090" cy="280614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invGray">
          <a:xfrm>
            <a:off x="0" y="3915327"/>
            <a:ext cx="3106057" cy="2806149"/>
          </a:xfrm>
          <a:prstGeom prst="rect">
            <a:avLst/>
          </a:prstGeom>
          <a:solidFill>
            <a:schemeClr val="tx1">
              <a:alpha val="6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pic>
        <p:nvPicPr>
          <p:cNvPr id="12" name="Picture 11"/>
          <p:cNvPicPr>
            <a:picLocks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7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99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vmlDrawing" Target="../drawings/vmlDrawing16.v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20" Type="http://schemas.openxmlformats.org/officeDocument/2006/relationships/tags" Target="../tags/tag35.xml"/><Relationship Id="rId29" Type="http://schemas.openxmlformats.org/officeDocument/2006/relationships/tags" Target="../tags/tag44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34.xml"/><Relationship Id="rId31" Type="http://schemas.openxmlformats.org/officeDocument/2006/relationships/tags" Target="../tags/tag4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oleObject" Target="../embeddings/oleObject1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75.xml"/><Relationship Id="rId7" Type="http://schemas.openxmlformats.org/officeDocument/2006/relationships/vmlDrawing" Target="../drawings/vmlDrawing29.v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oleObject" Target="../embeddings/oleObject29.bin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3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101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1" Type="http://schemas.openxmlformats.org/officeDocument/2006/relationships/slideLayout" Target="../slideLayouts/slideLayout38.xml"/><Relationship Id="rId6" Type="http://schemas.openxmlformats.org/officeDocument/2006/relationships/vmlDrawing" Target="../drawings/vmlDrawing34.vml"/><Relationship Id="rId11" Type="http://schemas.openxmlformats.org/officeDocument/2006/relationships/tags" Target="../tags/tag91.xml"/><Relationship Id="rId24" Type="http://schemas.openxmlformats.org/officeDocument/2006/relationships/oleObject" Target="../embeddings/oleObject34.bin"/><Relationship Id="rId5" Type="http://schemas.openxmlformats.org/officeDocument/2006/relationships/theme" Target="../theme/theme4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4" Type="http://schemas.openxmlformats.org/officeDocument/2006/relationships/slideLayout" Target="../slideLayouts/slideLayout41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86417709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889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1600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26610" y="1952134"/>
            <a:ext cx="145873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45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1/30/2017 8:51 PM Pacific Standard Time</a:t>
            </a:r>
            <a:endParaRPr lang="x-none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04168" y="4125960"/>
            <a:ext cx="150361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450" baseline="0" noProof="0">
                <a:solidFill>
                  <a:schemeClr val="accent6"/>
                </a:solidFill>
                <a:latin typeface="+mn-lt"/>
                <a:ea typeface="+mn-ea"/>
              </a:rPr>
              <a:t>Printed 10/3/2017 2:19 PM Pacific Standard Time (Mexico)</a:t>
            </a:r>
            <a:endParaRPr lang="x-none" sz="45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488" y="230189"/>
            <a:ext cx="1096949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9" y="675333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x-none" sz="1200" baseline="0" noProof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475488" y="6306659"/>
            <a:ext cx="10969498" cy="324724"/>
            <a:chOff x="475488" y="6306659"/>
            <a:chExt cx="10969498" cy="324724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gray">
            <a:xfrm>
              <a:off x="475489" y="6306659"/>
              <a:ext cx="1096949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 lang="x-none"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gray">
            <a:xfrm>
              <a:off x="475488" y="6508272"/>
              <a:ext cx="1096949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1175" indent="-511175" defTabSz="895395">
                <a:tabLst/>
              </a:pP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:</a:t>
              </a:r>
              <a:r>
                <a:rPr lang="en-US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	</a:t>
              </a:r>
              <a:r>
                <a:rPr lang="x-none" sz="8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90" y="1618489"/>
            <a:ext cx="9119362" cy="1243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761522"/>
            <a:ext cx="5685618" cy="341313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9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083833" y="285752"/>
            <a:ext cx="361125" cy="120033"/>
            <a:chOff x="8469945" y="285750"/>
            <a:chExt cx="270832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9945" y="285750"/>
              <a:ext cx="270832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chemeClr val="tx2"/>
                </a:buClr>
              </a:pPr>
              <a:r>
                <a:rPr lang="x-none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9945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9945" y="405783"/>
              <a:ext cx="2708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BottomBar" hidden="1"/>
          <p:cNvSpPr/>
          <p:nvPr userDrawn="1"/>
        </p:nvSpPr>
        <p:spPr>
          <a:xfrm>
            <a:off x="11740576" y="6441642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4" name="doc id" hidden="1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681231" y="279402"/>
            <a:ext cx="638721" cy="984251"/>
            <a:chOff x="7835905" y="279400"/>
            <a:chExt cx="638720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373423" y="279400"/>
            <a:ext cx="946697" cy="684600"/>
            <a:chOff x="7540629" y="279400"/>
            <a:chExt cx="946696" cy="68460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baseline="0" dirty="0">
                <a:latin typeface="+mn-lt"/>
                <a:ea typeface="+mn-ea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14556" y="279400"/>
            <a:ext cx="705397" cy="1306516"/>
            <a:chOff x="7769225" y="250825"/>
            <a:chExt cx="70539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x-none" sz="900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77" r:id="rId3"/>
    <p:sldLayoutId id="2147483678" r:id="rId4"/>
    <p:sldLayoutId id="2147483689" r:id="rId5"/>
    <p:sldLayoutId id="2147483681" r:id="rId6"/>
    <p:sldLayoutId id="2147483682" r:id="rId7"/>
    <p:sldLayoutId id="2147483692" r:id="rId8"/>
    <p:sldLayoutId id="2147483688" r:id="rId9"/>
    <p:sldLayoutId id="2147483717" r:id="rId10"/>
    <p:sldLayoutId id="2147483719" r:id="rId11"/>
    <p:sldLayoutId id="2147483675" r:id="rId12"/>
    <p:sldLayoutId id="2147483674" r:id="rId13"/>
    <p:sldLayoutId id="2147483680" r:id="rId14"/>
    <p:sldLayoutId id="2147483705" r:id="rId15"/>
    <p:sldLayoutId id="2147483817" r:id="rId16"/>
    <p:sldLayoutId id="2147483818" r:id="rId17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lang="x-none" sz="2600" b="0" baseline="0" noProof="0" dirty="0" smtClean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00000"/>
        <a:defRPr lang="x-none" sz="12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587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25000"/>
        <a:buFontTx/>
        <a:buNone/>
        <a:defRPr lang="x-none" sz="1200" b="0" baseline="0">
          <a:solidFill>
            <a:schemeClr val="accent6"/>
          </a:solidFill>
          <a:latin typeface="+mn-lt"/>
        </a:defRPr>
      </a:lvl2pPr>
      <a:lvl3pPr marL="126206" indent="-126206" algn="l" defTabSz="895395" rtl="0" eaLnBrk="1" fontAlgn="base" hangingPunct="1">
        <a:spcBef>
          <a:spcPct val="0"/>
        </a:spcBef>
        <a:spcAft>
          <a:spcPts val="450"/>
        </a:spcAft>
        <a:buClrTx/>
        <a:buSzPct val="100000"/>
        <a:buFont typeface="Arial" panose="020B0604020202020204" pitchFamily="34" charset="0"/>
        <a:buChar char="•"/>
        <a:defRPr lang="x-none" sz="1200" baseline="0">
          <a:solidFill>
            <a:schemeClr val="accent6"/>
          </a:solidFill>
          <a:latin typeface="+mn-lt"/>
        </a:defRPr>
      </a:lvl3pPr>
      <a:lvl4pPr marL="263129" indent="-136922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00" baseline="0">
          <a:solidFill>
            <a:schemeClr val="accent6"/>
          </a:solidFill>
          <a:latin typeface="+mn-lt"/>
        </a:defRPr>
      </a:lvl4pPr>
      <a:lvl5pPr marL="434579" indent="-171450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00" baseline="0">
          <a:solidFill>
            <a:schemeClr val="accent6"/>
          </a:solidFill>
          <a:latin typeface="+mn-lt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 userDrawn="1">
          <p15:clr>
            <a:srgbClr val="F26B43"/>
          </p15:clr>
        </p15:guide>
        <p15:guide id="2" pos="92" userDrawn="1">
          <p15:clr>
            <a:srgbClr val="F26B43"/>
          </p15:clr>
        </p15:guide>
        <p15:guide id="3" pos="284" userDrawn="1">
          <p15:clr>
            <a:srgbClr val="F26B43"/>
          </p15:clr>
        </p15:guide>
        <p15:guide id="4" pos="1436" userDrawn="1">
          <p15:clr>
            <a:srgbClr val="F26B43"/>
          </p15:clr>
        </p15:guide>
        <p15:guide id="5" pos="7196" userDrawn="1">
          <p15:clr>
            <a:srgbClr val="F26B43"/>
          </p15:clr>
        </p15:guide>
        <p15:guide id="6" pos="6044" userDrawn="1">
          <p15:clr>
            <a:srgbClr val="F26B43"/>
          </p15:clr>
        </p15:guide>
        <p15:guide id="7" pos="4891" userDrawn="1">
          <p15:clr>
            <a:srgbClr val="F26B43"/>
          </p15:clr>
        </p15:guide>
        <p15:guide id="8" pos="3740" userDrawn="1">
          <p15:clr>
            <a:srgbClr val="F26B43"/>
          </p15:clr>
        </p15:guide>
        <p15:guide id="9" pos="2587" userDrawn="1">
          <p15:clr>
            <a:srgbClr val="F26B43"/>
          </p15:clr>
        </p15:guide>
        <p15:guide id="10" orient="horz" pos="1020" userDrawn="1">
          <p15:clr>
            <a:srgbClr val="F26B43"/>
          </p15:clr>
        </p15:guide>
        <p15:guide id="11" orient="horz" pos="797" userDrawn="1">
          <p15:clr>
            <a:srgbClr val="F26B43"/>
          </p15:clr>
        </p15:guide>
        <p15:guide id="12" orient="horz" pos="557" userDrawn="1">
          <p15:clr>
            <a:srgbClr val="F26B43"/>
          </p15:clr>
        </p15:guide>
        <p15:guide id="13" orient="horz" pos="2844" userDrawn="1">
          <p15:clr>
            <a:srgbClr val="F26B43"/>
          </p15:clr>
        </p15:guide>
        <p15:guide id="14" orient="horz" pos="3756" userDrawn="1">
          <p15:clr>
            <a:srgbClr val="F26B43"/>
          </p15:clr>
        </p15:guide>
        <p15:guide id="15" orient="horz" pos="41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3095114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1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dirty="0">
              <a:solidFill>
                <a:srgbClr val="00296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26610" y="1952134"/>
            <a:ext cx="145873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450">
                <a:solidFill>
                  <a:srgbClr val="666666"/>
                </a:solidFill>
                <a:latin typeface="Arial"/>
              </a:rPr>
              <a:t>Last Modified 11/30/2017 8:51 PM Pacific Standard Time</a:t>
            </a:r>
            <a:endParaRPr sz="450" dirty="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104168" y="4125960"/>
            <a:ext cx="1503617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450">
                <a:solidFill>
                  <a:srgbClr val="666666"/>
                </a:solidFill>
                <a:latin typeface="Arial"/>
              </a:rPr>
              <a:t>Printed 10/3/2017 2:19 PM Pacific Standard Time (Mexico)</a:t>
            </a:r>
            <a:endParaRPr sz="450" dirty="0">
              <a:solidFill>
                <a:srgbClr val="666666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475488" y="230189"/>
            <a:ext cx="10969498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475490" y="7576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00" cap="all" dirty="0">
                <a:solidFill>
                  <a:srgbClr val="666666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475489" y="675333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200" dirty="0">
                <a:solidFill>
                  <a:srgbClr val="666666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475488" y="6306659"/>
            <a:ext cx="10969498" cy="324724"/>
            <a:chOff x="475488" y="6306659"/>
            <a:chExt cx="10969498" cy="324724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gray">
            <a:xfrm>
              <a:off x="475489" y="6306659"/>
              <a:ext cx="1096949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4294" indent="-64294">
                <a:defRPr lang="x-none"/>
              </a:pPr>
              <a:r>
                <a:rPr sz="800" dirty="0">
                  <a:solidFill>
                    <a:srgbClr val="666666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gray">
            <a:xfrm>
              <a:off x="475488" y="6508272"/>
              <a:ext cx="1096949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11175" indent="-511175" defTabSz="895395"/>
              <a:r>
                <a:rPr lang="x-none" sz="800" dirty="0">
                  <a:solidFill>
                    <a:srgbClr val="666666"/>
                  </a:solidFill>
                  <a:latin typeface="Arial"/>
                </a:rPr>
                <a:t>SOURCE:</a:t>
              </a:r>
              <a:r>
                <a:rPr lang="en-US" sz="800" dirty="0">
                  <a:solidFill>
                    <a:srgbClr val="666666"/>
                  </a:solidFill>
                  <a:latin typeface="Arial"/>
                </a:rPr>
                <a:t>	</a:t>
              </a:r>
              <a:r>
                <a:rPr lang="x-none" sz="800" dirty="0">
                  <a:solidFill>
                    <a:srgbClr val="666666"/>
                  </a:solidFill>
                  <a:latin typeface="Arial"/>
                </a:rPr>
                <a:t>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75490" y="1618489"/>
            <a:ext cx="9119362" cy="1243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475489" y="1761522"/>
            <a:ext cx="5685618" cy="341313"/>
            <a:chOff x="915" y="815"/>
            <a:chExt cx="2686" cy="2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15"/>
              <a:ext cx="2686" cy="2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200" b="1" dirty="0">
                  <a:solidFill>
                    <a:srgbClr val="002960"/>
                  </a:solidFill>
                  <a:latin typeface="Arial"/>
                </a:rPr>
                <a:t>Title</a:t>
              </a:r>
            </a:p>
            <a:p>
              <a:r>
                <a:rPr lang="x-none" sz="900" dirty="0">
                  <a:solidFill>
                    <a:srgbClr val="666666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083833" y="285752"/>
            <a:ext cx="361125" cy="120033"/>
            <a:chOff x="8469945" y="285750"/>
            <a:chExt cx="270832" cy="120033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9945" y="285750"/>
              <a:ext cx="270832" cy="1200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95">
                <a:buClr>
                  <a:srgbClr val="002960"/>
                </a:buClr>
              </a:pPr>
              <a:r>
                <a:rPr lang="x-none" sz="600" dirty="0">
                  <a:solidFill>
                    <a:srgbClr val="666666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9945" y="285750"/>
              <a:ext cx="0" cy="12003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9945" y="405783"/>
              <a:ext cx="2708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BottomBar" hidden="1"/>
          <p:cNvSpPr/>
          <p:nvPr userDrawn="1"/>
        </p:nvSpPr>
        <p:spPr>
          <a:xfrm>
            <a:off x="11740576" y="6441642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200" dirty="0">
              <a:solidFill>
                <a:srgbClr val="002960"/>
              </a:solidFill>
            </a:endParaRPr>
          </a:p>
        </p:txBody>
      </p:sp>
      <p:sp>
        <p:nvSpPr>
          <p:cNvPr id="24" name="doc id" hidden="1"/>
          <p:cNvSpPr>
            <a:spLocks noChangeArrowheads="1"/>
          </p:cNvSpPr>
          <p:nvPr userDrawn="1"/>
        </p:nvSpPr>
        <p:spPr bwMode="gray">
          <a:xfrm>
            <a:off x="10251980" y="50801"/>
            <a:ext cx="1166410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71513"/>
            <a:endParaRPr lang="x-none" sz="45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LegendBoxes" hidden="1"/>
          <p:cNvGrpSpPr/>
          <p:nvPr userDrawn="1"/>
        </p:nvGrpSpPr>
        <p:grpSpPr bwMode="gray">
          <a:xfrm>
            <a:off x="10681231" y="279402"/>
            <a:ext cx="638721" cy="984251"/>
            <a:chOff x="7835905" y="279400"/>
            <a:chExt cx="638720" cy="984251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rgbClr val="6F8BF3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rgbClr val="9FB2F7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rgbClr val="CFD8FB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4720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4" name="LegendLines" hidden="1"/>
          <p:cNvGrpSpPr/>
          <p:nvPr userDrawn="1"/>
        </p:nvGrpSpPr>
        <p:grpSpPr bwMode="gray">
          <a:xfrm>
            <a:off x="10373423" y="279400"/>
            <a:ext cx="946697" cy="684600"/>
            <a:chOff x="7540629" y="279400"/>
            <a:chExt cx="946696" cy="68460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900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4721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LegendMoons" hidden="1"/>
          <p:cNvGrpSpPr/>
          <p:nvPr userDrawn="1"/>
        </p:nvGrpSpPr>
        <p:grpSpPr bwMode="gray">
          <a:xfrm>
            <a:off x="10614556" y="279400"/>
            <a:ext cx="705397" cy="1306516"/>
            <a:chOff x="7769225" y="250825"/>
            <a:chExt cx="705396" cy="1306516"/>
          </a:xfrm>
        </p:grpSpPr>
        <p:grpSp>
          <p:nvGrpSpPr>
            <p:cNvPr id="42" name="MoonLegend1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0" name="Oval 38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61" name="Arc 39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4" name="Oval 5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5" name="Oval 5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900" dirty="0">
                  <a:solidFill>
                    <a:srgbClr val="002960"/>
                  </a:solidFill>
                  <a:latin typeface="Arial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4721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rgbClr val="002960"/>
                </a:buClr>
              </a:pPr>
              <a:r>
                <a:rPr lang="x-none" sz="900" dirty="0">
                  <a:solidFill>
                    <a:srgbClr val="00296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7186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90" r:id="rId10"/>
    <p:sldLayoutId id="2147483793" r:id="rId11"/>
    <p:sldLayoutId id="2147483800" r:id="rId12"/>
    <p:sldLayoutId id="2147483801" r:id="rId13"/>
    <p:sldLayoutId id="2147483802" r:id="rId14"/>
    <p:sldLayoutId id="2147483803" r:id="rId15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895395" rtl="0" eaLnBrk="1" fontAlgn="base" hangingPunct="1">
        <a:spcBef>
          <a:spcPct val="0"/>
        </a:spcBef>
        <a:spcAft>
          <a:spcPct val="0"/>
        </a:spcAft>
        <a:tabLst>
          <a:tab pos="269888" algn="l"/>
        </a:tabLst>
        <a:defRPr lang="x-none" sz="2600" b="0" baseline="0" noProof="0" dirty="0" smtClean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2pPr>
      <a:lvl3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3pPr>
      <a:lvl4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4pPr>
      <a:lvl5pPr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5pPr>
      <a:lvl6pPr marL="457223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6pPr>
      <a:lvl7pPr marL="914446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7pPr>
      <a:lvl8pPr marL="1371668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8pPr>
      <a:lvl9pPr marL="1828892" algn="l" defTabSz="895395" rtl="0" eaLnBrk="1" fontAlgn="base" hangingPunct="1">
        <a:spcBef>
          <a:spcPct val="0"/>
        </a:spcBef>
        <a:spcAft>
          <a:spcPct val="0"/>
        </a:spcAft>
        <a:defRPr lang="x-none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00000"/>
        <a:defRPr lang="x-none" sz="1200" b="1" baseline="0">
          <a:solidFill>
            <a:schemeClr val="tx1"/>
          </a:solidFill>
          <a:latin typeface="+mn-lt"/>
          <a:ea typeface="+mn-ea"/>
          <a:cs typeface="+mn-cs"/>
        </a:defRPr>
      </a:lvl1pPr>
      <a:lvl2pPr marL="1587" indent="0" algn="l" defTabSz="895395" rtl="0" eaLnBrk="1" fontAlgn="base" hangingPunct="1">
        <a:spcBef>
          <a:spcPts val="450"/>
        </a:spcBef>
        <a:spcAft>
          <a:spcPts val="450"/>
        </a:spcAft>
        <a:buClr>
          <a:schemeClr val="tx2"/>
        </a:buClr>
        <a:buSzPct val="125000"/>
        <a:buFontTx/>
        <a:buNone/>
        <a:defRPr lang="x-none" sz="1200" b="0" baseline="0">
          <a:solidFill>
            <a:schemeClr val="accent6"/>
          </a:solidFill>
          <a:latin typeface="+mn-lt"/>
        </a:defRPr>
      </a:lvl2pPr>
      <a:lvl3pPr marL="126206" indent="-126206" algn="l" defTabSz="895395" rtl="0" eaLnBrk="1" fontAlgn="base" hangingPunct="1">
        <a:spcBef>
          <a:spcPct val="0"/>
        </a:spcBef>
        <a:spcAft>
          <a:spcPts val="450"/>
        </a:spcAft>
        <a:buClrTx/>
        <a:buSzPct val="100000"/>
        <a:buFont typeface="Arial" panose="020B0604020202020204" pitchFamily="34" charset="0"/>
        <a:buChar char="•"/>
        <a:defRPr lang="x-none" sz="1200" baseline="0">
          <a:solidFill>
            <a:schemeClr val="accent6"/>
          </a:solidFill>
          <a:latin typeface="+mn-lt"/>
        </a:defRPr>
      </a:lvl3pPr>
      <a:lvl4pPr marL="263129" indent="-136922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lang="x-none" sz="1200" baseline="0">
          <a:solidFill>
            <a:schemeClr val="accent6"/>
          </a:solidFill>
          <a:latin typeface="+mn-lt"/>
        </a:defRPr>
      </a:lvl4pPr>
      <a:lvl5pPr marL="434579" indent="-171450" algn="l" defTabSz="895395" rtl="0" eaLnBrk="1" fontAlgn="base" hangingPunct="1">
        <a:spcBef>
          <a:spcPct val="0"/>
        </a:spcBef>
        <a:spcAft>
          <a:spcPts val="450"/>
        </a:spcAft>
        <a:buClr>
          <a:schemeClr val="accent6"/>
        </a:buClr>
        <a:buSzPct val="100000"/>
        <a:buFont typeface="Times New Roman" panose="02020603050405020304" pitchFamily="18" charset="0"/>
        <a:buChar char="─"/>
        <a:defRPr lang="x-none" sz="1200" baseline="0">
          <a:solidFill>
            <a:schemeClr val="accent6"/>
          </a:solidFill>
          <a:latin typeface="+mn-lt"/>
        </a:defRPr>
      </a:lvl5pPr>
      <a:lvl6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6pPr>
      <a:lvl7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7pPr>
      <a:lvl8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8pPr>
      <a:lvl9pPr marL="749846" indent="-130181" algn="l" defTabSz="8953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00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8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2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lang="x-none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25">
          <p15:clr>
            <a:srgbClr val="F26B43"/>
          </p15:clr>
        </p15:guide>
        <p15:guide id="2" pos="92">
          <p15:clr>
            <a:srgbClr val="F26B43"/>
          </p15:clr>
        </p15:guide>
        <p15:guide id="3" pos="284">
          <p15:clr>
            <a:srgbClr val="F26B43"/>
          </p15:clr>
        </p15:guide>
        <p15:guide id="4" pos="1436">
          <p15:clr>
            <a:srgbClr val="F26B43"/>
          </p15:clr>
        </p15:guide>
        <p15:guide id="5" pos="7196">
          <p15:clr>
            <a:srgbClr val="F26B43"/>
          </p15:clr>
        </p15:guide>
        <p15:guide id="6" pos="6044">
          <p15:clr>
            <a:srgbClr val="F26B43"/>
          </p15:clr>
        </p15:guide>
        <p15:guide id="7" pos="4891">
          <p15:clr>
            <a:srgbClr val="F26B43"/>
          </p15:clr>
        </p15:guide>
        <p15:guide id="8" pos="3740">
          <p15:clr>
            <a:srgbClr val="F26B43"/>
          </p15:clr>
        </p15:guide>
        <p15:guide id="9" pos="2587">
          <p15:clr>
            <a:srgbClr val="F26B43"/>
          </p15:clr>
        </p15:guide>
        <p15:guide id="10" orient="horz" pos="1020">
          <p15:clr>
            <a:srgbClr val="F26B43"/>
          </p15:clr>
        </p15:guide>
        <p15:guide id="11" orient="horz" pos="797">
          <p15:clr>
            <a:srgbClr val="F26B43"/>
          </p15:clr>
        </p15:guide>
        <p15:guide id="12" orient="horz" pos="557">
          <p15:clr>
            <a:srgbClr val="F26B43"/>
          </p15:clr>
        </p15:guide>
        <p15:guide id="13" orient="horz" pos="2844">
          <p15:clr>
            <a:srgbClr val="F26B43"/>
          </p15:clr>
        </p15:guide>
        <p15:guide id="14" orient="horz" pos="3756">
          <p15:clr>
            <a:srgbClr val="F26B43"/>
          </p15:clr>
        </p15:guide>
        <p15:guide id="15" orient="horz" pos="41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04522247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8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r>
              <a:rPr lang="en-US" sz="6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Document ID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79747" y="1940592"/>
            <a:ext cx="195245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Last Modified 11/30/2017 8:51 PM Pacific Standard Time</a:t>
            </a:r>
            <a:endParaRPr lang="en-US" sz="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850092" y="4114418"/>
            <a:ext cx="201176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Printed 10/3/2017 2:19 PM Pacific Standard Time (Mexico)</a:t>
            </a:r>
            <a:endParaRPr lang="en-US" sz="600" dirty="0">
              <a:solidFill>
                <a:srgbClr val="000000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dirty="0">
                <a:solidFill>
                  <a:srgbClr val="00ADEF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FFFFFF">
                    <a:lumMod val="50000"/>
                  </a:srgbClr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 userDrawn="1"/>
        </p:nvGrpSpPr>
        <p:grpSpPr bwMode="gray">
          <a:xfrm>
            <a:off x="158758" y="6305945"/>
            <a:ext cx="11398754" cy="325438"/>
            <a:chOff x="75" y="3936"/>
            <a:chExt cx="5385" cy="20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63"/>
              <a:ext cx="4702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93713" indent="-493713" defTabSz="119386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9" y="1951380"/>
            <a:ext cx="3602114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ADEF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FFFFFF">
                      <a:lumMod val="50000"/>
                    </a:srgbClr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39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71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accent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6987049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1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79746" y="1940591"/>
            <a:ext cx="195245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11/30/2017 8:51 PM Pacific Standard Tim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0850092" y="4114417"/>
            <a:ext cx="201176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</a:rPr>
              <a:t>Printed 10/3/2017 2:19 PM Pacific Standard Time (Mexico)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58759" y="6305945"/>
            <a:ext cx="11491891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5836" y="6327340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3922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3497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5017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734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9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14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20.xml"/><Relationship Id="rId18" Type="http://schemas.openxmlformats.org/officeDocument/2006/relationships/tags" Target="../tags/tag425.xml"/><Relationship Id="rId26" Type="http://schemas.openxmlformats.org/officeDocument/2006/relationships/tags" Target="../tags/tag433.xml"/><Relationship Id="rId39" Type="http://schemas.openxmlformats.org/officeDocument/2006/relationships/tags" Target="../tags/tag446.xml"/><Relationship Id="rId21" Type="http://schemas.openxmlformats.org/officeDocument/2006/relationships/tags" Target="../tags/tag428.xml"/><Relationship Id="rId34" Type="http://schemas.openxmlformats.org/officeDocument/2006/relationships/tags" Target="../tags/tag441.xml"/><Relationship Id="rId42" Type="http://schemas.openxmlformats.org/officeDocument/2006/relationships/tags" Target="../tags/tag449.xml"/><Relationship Id="rId47" Type="http://schemas.openxmlformats.org/officeDocument/2006/relationships/tags" Target="../tags/tag454.xml"/><Relationship Id="rId50" Type="http://schemas.openxmlformats.org/officeDocument/2006/relationships/tags" Target="../tags/tag457.xml"/><Relationship Id="rId55" Type="http://schemas.openxmlformats.org/officeDocument/2006/relationships/oleObject" Target="../embeddings/oleObject57.bin"/><Relationship Id="rId7" Type="http://schemas.openxmlformats.org/officeDocument/2006/relationships/tags" Target="../tags/tag414.xml"/><Relationship Id="rId12" Type="http://schemas.openxmlformats.org/officeDocument/2006/relationships/tags" Target="../tags/tag419.xml"/><Relationship Id="rId17" Type="http://schemas.openxmlformats.org/officeDocument/2006/relationships/tags" Target="../tags/tag424.xml"/><Relationship Id="rId25" Type="http://schemas.openxmlformats.org/officeDocument/2006/relationships/tags" Target="../tags/tag432.xml"/><Relationship Id="rId33" Type="http://schemas.openxmlformats.org/officeDocument/2006/relationships/tags" Target="../tags/tag440.xml"/><Relationship Id="rId38" Type="http://schemas.openxmlformats.org/officeDocument/2006/relationships/tags" Target="../tags/tag445.xml"/><Relationship Id="rId46" Type="http://schemas.openxmlformats.org/officeDocument/2006/relationships/tags" Target="../tags/tag453.xml"/><Relationship Id="rId59" Type="http://schemas.openxmlformats.org/officeDocument/2006/relationships/oleObject" Target="../embeddings/oleObject59.bin"/><Relationship Id="rId2" Type="http://schemas.openxmlformats.org/officeDocument/2006/relationships/tags" Target="../tags/tag409.xml"/><Relationship Id="rId16" Type="http://schemas.openxmlformats.org/officeDocument/2006/relationships/tags" Target="../tags/tag423.xml"/><Relationship Id="rId20" Type="http://schemas.openxmlformats.org/officeDocument/2006/relationships/tags" Target="../tags/tag427.xml"/><Relationship Id="rId29" Type="http://schemas.openxmlformats.org/officeDocument/2006/relationships/tags" Target="../tags/tag436.xml"/><Relationship Id="rId41" Type="http://schemas.openxmlformats.org/officeDocument/2006/relationships/tags" Target="../tags/tag448.xml"/><Relationship Id="rId54" Type="http://schemas.openxmlformats.org/officeDocument/2006/relationships/slideLayout" Target="../slideLayouts/slideLayout1.xml"/><Relationship Id="rId1" Type="http://schemas.openxmlformats.org/officeDocument/2006/relationships/vmlDrawing" Target="../drawings/vmlDrawing48.vml"/><Relationship Id="rId6" Type="http://schemas.openxmlformats.org/officeDocument/2006/relationships/tags" Target="../tags/tag413.xml"/><Relationship Id="rId11" Type="http://schemas.openxmlformats.org/officeDocument/2006/relationships/tags" Target="../tags/tag418.xml"/><Relationship Id="rId24" Type="http://schemas.openxmlformats.org/officeDocument/2006/relationships/tags" Target="../tags/tag431.xml"/><Relationship Id="rId32" Type="http://schemas.openxmlformats.org/officeDocument/2006/relationships/tags" Target="../tags/tag439.xml"/><Relationship Id="rId37" Type="http://schemas.openxmlformats.org/officeDocument/2006/relationships/tags" Target="../tags/tag444.xml"/><Relationship Id="rId40" Type="http://schemas.openxmlformats.org/officeDocument/2006/relationships/tags" Target="../tags/tag447.xml"/><Relationship Id="rId45" Type="http://schemas.openxmlformats.org/officeDocument/2006/relationships/tags" Target="../tags/tag452.xml"/><Relationship Id="rId53" Type="http://schemas.openxmlformats.org/officeDocument/2006/relationships/tags" Target="../tags/tag460.xml"/><Relationship Id="rId58" Type="http://schemas.openxmlformats.org/officeDocument/2006/relationships/image" Target="../media/image51.emf"/><Relationship Id="rId5" Type="http://schemas.openxmlformats.org/officeDocument/2006/relationships/tags" Target="../tags/tag412.xml"/><Relationship Id="rId15" Type="http://schemas.openxmlformats.org/officeDocument/2006/relationships/tags" Target="../tags/tag422.xml"/><Relationship Id="rId23" Type="http://schemas.openxmlformats.org/officeDocument/2006/relationships/tags" Target="../tags/tag430.xml"/><Relationship Id="rId28" Type="http://schemas.openxmlformats.org/officeDocument/2006/relationships/tags" Target="../tags/tag435.xml"/><Relationship Id="rId36" Type="http://schemas.openxmlformats.org/officeDocument/2006/relationships/tags" Target="../tags/tag443.xml"/><Relationship Id="rId49" Type="http://schemas.openxmlformats.org/officeDocument/2006/relationships/tags" Target="../tags/tag456.xml"/><Relationship Id="rId57" Type="http://schemas.openxmlformats.org/officeDocument/2006/relationships/oleObject" Target="../embeddings/oleObject58.bin"/><Relationship Id="rId10" Type="http://schemas.openxmlformats.org/officeDocument/2006/relationships/tags" Target="../tags/tag417.xml"/><Relationship Id="rId19" Type="http://schemas.openxmlformats.org/officeDocument/2006/relationships/tags" Target="../tags/tag426.xml"/><Relationship Id="rId31" Type="http://schemas.openxmlformats.org/officeDocument/2006/relationships/tags" Target="../tags/tag438.xml"/><Relationship Id="rId44" Type="http://schemas.openxmlformats.org/officeDocument/2006/relationships/tags" Target="../tags/tag451.xml"/><Relationship Id="rId52" Type="http://schemas.openxmlformats.org/officeDocument/2006/relationships/tags" Target="../tags/tag459.xml"/><Relationship Id="rId60" Type="http://schemas.openxmlformats.org/officeDocument/2006/relationships/image" Target="../media/image52.emf"/><Relationship Id="rId4" Type="http://schemas.openxmlformats.org/officeDocument/2006/relationships/tags" Target="../tags/tag411.xml"/><Relationship Id="rId9" Type="http://schemas.openxmlformats.org/officeDocument/2006/relationships/tags" Target="../tags/tag416.xml"/><Relationship Id="rId14" Type="http://schemas.openxmlformats.org/officeDocument/2006/relationships/tags" Target="../tags/tag421.xml"/><Relationship Id="rId22" Type="http://schemas.openxmlformats.org/officeDocument/2006/relationships/tags" Target="../tags/tag429.xml"/><Relationship Id="rId27" Type="http://schemas.openxmlformats.org/officeDocument/2006/relationships/tags" Target="../tags/tag434.xml"/><Relationship Id="rId30" Type="http://schemas.openxmlformats.org/officeDocument/2006/relationships/tags" Target="../tags/tag437.xml"/><Relationship Id="rId35" Type="http://schemas.openxmlformats.org/officeDocument/2006/relationships/tags" Target="../tags/tag442.xml"/><Relationship Id="rId43" Type="http://schemas.openxmlformats.org/officeDocument/2006/relationships/tags" Target="../tags/tag450.xml"/><Relationship Id="rId48" Type="http://schemas.openxmlformats.org/officeDocument/2006/relationships/tags" Target="../tags/tag455.xml"/><Relationship Id="rId56" Type="http://schemas.openxmlformats.org/officeDocument/2006/relationships/image" Target="../media/image49.emf"/><Relationship Id="rId8" Type="http://schemas.openxmlformats.org/officeDocument/2006/relationships/tags" Target="../tags/tag415.xml"/><Relationship Id="rId51" Type="http://schemas.openxmlformats.org/officeDocument/2006/relationships/tags" Target="../tags/tag458.xml"/><Relationship Id="rId3" Type="http://schemas.openxmlformats.org/officeDocument/2006/relationships/tags" Target="../tags/tag4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13" Type="http://schemas.openxmlformats.org/officeDocument/2006/relationships/image" Target="../media/image57.png"/><Relationship Id="rId3" Type="http://schemas.openxmlformats.org/officeDocument/2006/relationships/tags" Target="../tags/tag462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" Type="http://schemas.openxmlformats.org/officeDocument/2006/relationships/tags" Target="../tags/tag461.xml"/><Relationship Id="rId16" Type="http://schemas.openxmlformats.org/officeDocument/2006/relationships/image" Target="../media/image60.png"/><Relationship Id="rId1" Type="http://schemas.openxmlformats.org/officeDocument/2006/relationships/vmlDrawing" Target="../drawings/vmlDrawing49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55.png"/><Relationship Id="rId5" Type="http://schemas.openxmlformats.org/officeDocument/2006/relationships/tags" Target="../tags/tag464.xml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4" Type="http://schemas.openxmlformats.org/officeDocument/2006/relationships/tags" Target="../tags/tag463.xml"/><Relationship Id="rId9" Type="http://schemas.openxmlformats.org/officeDocument/2006/relationships/image" Target="../media/image53.emf"/><Relationship Id="rId1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1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72.xml"/><Relationship Id="rId13" Type="http://schemas.openxmlformats.org/officeDocument/2006/relationships/tags" Target="../tags/tag477.xml"/><Relationship Id="rId18" Type="http://schemas.openxmlformats.org/officeDocument/2006/relationships/tags" Target="../tags/tag482.xml"/><Relationship Id="rId26" Type="http://schemas.openxmlformats.org/officeDocument/2006/relationships/tags" Target="../tags/tag490.xml"/><Relationship Id="rId39" Type="http://schemas.openxmlformats.org/officeDocument/2006/relationships/image" Target="../media/image55.png"/><Relationship Id="rId3" Type="http://schemas.openxmlformats.org/officeDocument/2006/relationships/tags" Target="../tags/tag467.xml"/><Relationship Id="rId21" Type="http://schemas.openxmlformats.org/officeDocument/2006/relationships/tags" Target="../tags/tag485.xml"/><Relationship Id="rId34" Type="http://schemas.openxmlformats.org/officeDocument/2006/relationships/notesSlide" Target="../notesSlides/notesSlide9.xml"/><Relationship Id="rId42" Type="http://schemas.openxmlformats.org/officeDocument/2006/relationships/image" Target="../media/image58.png"/><Relationship Id="rId7" Type="http://schemas.openxmlformats.org/officeDocument/2006/relationships/tags" Target="../tags/tag471.xml"/><Relationship Id="rId12" Type="http://schemas.openxmlformats.org/officeDocument/2006/relationships/tags" Target="../tags/tag476.xml"/><Relationship Id="rId17" Type="http://schemas.openxmlformats.org/officeDocument/2006/relationships/tags" Target="../tags/tag481.xml"/><Relationship Id="rId25" Type="http://schemas.openxmlformats.org/officeDocument/2006/relationships/tags" Target="../tags/tag489.xml"/><Relationship Id="rId33" Type="http://schemas.openxmlformats.org/officeDocument/2006/relationships/slideLayout" Target="../slideLayouts/slideLayout1.xml"/><Relationship Id="rId38" Type="http://schemas.openxmlformats.org/officeDocument/2006/relationships/image" Target="../media/image62.emf"/><Relationship Id="rId2" Type="http://schemas.openxmlformats.org/officeDocument/2006/relationships/tags" Target="../tags/tag466.xml"/><Relationship Id="rId16" Type="http://schemas.openxmlformats.org/officeDocument/2006/relationships/tags" Target="../tags/tag480.xml"/><Relationship Id="rId20" Type="http://schemas.openxmlformats.org/officeDocument/2006/relationships/tags" Target="../tags/tag484.xml"/><Relationship Id="rId29" Type="http://schemas.openxmlformats.org/officeDocument/2006/relationships/tags" Target="../tags/tag493.xml"/><Relationship Id="rId41" Type="http://schemas.openxmlformats.org/officeDocument/2006/relationships/image" Target="../media/image57.png"/><Relationship Id="rId1" Type="http://schemas.openxmlformats.org/officeDocument/2006/relationships/vmlDrawing" Target="../drawings/vmlDrawing51.vml"/><Relationship Id="rId6" Type="http://schemas.openxmlformats.org/officeDocument/2006/relationships/tags" Target="../tags/tag470.xml"/><Relationship Id="rId11" Type="http://schemas.openxmlformats.org/officeDocument/2006/relationships/tags" Target="../tags/tag475.xml"/><Relationship Id="rId24" Type="http://schemas.openxmlformats.org/officeDocument/2006/relationships/tags" Target="../tags/tag488.xml"/><Relationship Id="rId32" Type="http://schemas.openxmlformats.org/officeDocument/2006/relationships/tags" Target="../tags/tag496.xml"/><Relationship Id="rId37" Type="http://schemas.openxmlformats.org/officeDocument/2006/relationships/oleObject" Target="../embeddings/oleObject63.bin"/><Relationship Id="rId40" Type="http://schemas.openxmlformats.org/officeDocument/2006/relationships/image" Target="../media/image56.png"/><Relationship Id="rId5" Type="http://schemas.openxmlformats.org/officeDocument/2006/relationships/tags" Target="../tags/tag469.xml"/><Relationship Id="rId15" Type="http://schemas.openxmlformats.org/officeDocument/2006/relationships/tags" Target="../tags/tag479.xml"/><Relationship Id="rId23" Type="http://schemas.openxmlformats.org/officeDocument/2006/relationships/tags" Target="../tags/tag487.xml"/><Relationship Id="rId28" Type="http://schemas.openxmlformats.org/officeDocument/2006/relationships/tags" Target="../tags/tag492.xml"/><Relationship Id="rId36" Type="http://schemas.openxmlformats.org/officeDocument/2006/relationships/image" Target="../media/image26.emf"/><Relationship Id="rId10" Type="http://schemas.openxmlformats.org/officeDocument/2006/relationships/tags" Target="../tags/tag474.xml"/><Relationship Id="rId19" Type="http://schemas.openxmlformats.org/officeDocument/2006/relationships/tags" Target="../tags/tag483.xml"/><Relationship Id="rId31" Type="http://schemas.openxmlformats.org/officeDocument/2006/relationships/tags" Target="../tags/tag495.xml"/><Relationship Id="rId44" Type="http://schemas.openxmlformats.org/officeDocument/2006/relationships/image" Target="../media/image60.png"/><Relationship Id="rId4" Type="http://schemas.openxmlformats.org/officeDocument/2006/relationships/tags" Target="../tags/tag468.xml"/><Relationship Id="rId9" Type="http://schemas.openxmlformats.org/officeDocument/2006/relationships/tags" Target="../tags/tag473.xml"/><Relationship Id="rId14" Type="http://schemas.openxmlformats.org/officeDocument/2006/relationships/tags" Target="../tags/tag478.xml"/><Relationship Id="rId22" Type="http://schemas.openxmlformats.org/officeDocument/2006/relationships/tags" Target="../tags/tag486.xml"/><Relationship Id="rId27" Type="http://schemas.openxmlformats.org/officeDocument/2006/relationships/tags" Target="../tags/tag491.xml"/><Relationship Id="rId30" Type="http://schemas.openxmlformats.org/officeDocument/2006/relationships/tags" Target="../tags/tag494.xml"/><Relationship Id="rId35" Type="http://schemas.openxmlformats.org/officeDocument/2006/relationships/oleObject" Target="../embeddings/oleObject62.bin"/><Relationship Id="rId43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508.xml"/><Relationship Id="rId18" Type="http://schemas.openxmlformats.org/officeDocument/2006/relationships/tags" Target="../tags/tag513.xml"/><Relationship Id="rId26" Type="http://schemas.openxmlformats.org/officeDocument/2006/relationships/tags" Target="../tags/tag521.xml"/><Relationship Id="rId39" Type="http://schemas.openxmlformats.org/officeDocument/2006/relationships/tags" Target="../tags/tag534.xml"/><Relationship Id="rId3" Type="http://schemas.openxmlformats.org/officeDocument/2006/relationships/tags" Target="../tags/tag498.xml"/><Relationship Id="rId21" Type="http://schemas.openxmlformats.org/officeDocument/2006/relationships/tags" Target="../tags/tag516.xml"/><Relationship Id="rId34" Type="http://schemas.openxmlformats.org/officeDocument/2006/relationships/tags" Target="../tags/tag529.xml"/><Relationship Id="rId42" Type="http://schemas.openxmlformats.org/officeDocument/2006/relationships/oleObject" Target="../embeddings/oleObject64.bin"/><Relationship Id="rId47" Type="http://schemas.openxmlformats.org/officeDocument/2006/relationships/image" Target="../media/image64.emf"/><Relationship Id="rId50" Type="http://schemas.openxmlformats.org/officeDocument/2006/relationships/oleObject" Target="../embeddings/oleObject68.bin"/><Relationship Id="rId7" Type="http://schemas.openxmlformats.org/officeDocument/2006/relationships/tags" Target="../tags/tag502.xml"/><Relationship Id="rId12" Type="http://schemas.openxmlformats.org/officeDocument/2006/relationships/tags" Target="../tags/tag507.xml"/><Relationship Id="rId17" Type="http://schemas.openxmlformats.org/officeDocument/2006/relationships/tags" Target="../tags/tag512.xml"/><Relationship Id="rId25" Type="http://schemas.openxmlformats.org/officeDocument/2006/relationships/tags" Target="../tags/tag520.xml"/><Relationship Id="rId33" Type="http://schemas.openxmlformats.org/officeDocument/2006/relationships/tags" Target="../tags/tag528.xml"/><Relationship Id="rId38" Type="http://schemas.openxmlformats.org/officeDocument/2006/relationships/tags" Target="../tags/tag533.xml"/><Relationship Id="rId46" Type="http://schemas.openxmlformats.org/officeDocument/2006/relationships/oleObject" Target="../embeddings/oleObject66.bin"/><Relationship Id="rId2" Type="http://schemas.openxmlformats.org/officeDocument/2006/relationships/tags" Target="../tags/tag497.xml"/><Relationship Id="rId16" Type="http://schemas.openxmlformats.org/officeDocument/2006/relationships/tags" Target="../tags/tag511.xml"/><Relationship Id="rId20" Type="http://schemas.openxmlformats.org/officeDocument/2006/relationships/tags" Target="../tags/tag515.xml"/><Relationship Id="rId29" Type="http://schemas.openxmlformats.org/officeDocument/2006/relationships/tags" Target="../tags/tag524.xml"/><Relationship Id="rId41" Type="http://schemas.openxmlformats.org/officeDocument/2006/relationships/notesSlide" Target="../notesSlides/notesSlide10.xml"/><Relationship Id="rId1" Type="http://schemas.openxmlformats.org/officeDocument/2006/relationships/vmlDrawing" Target="../drawings/vmlDrawing52.vml"/><Relationship Id="rId6" Type="http://schemas.openxmlformats.org/officeDocument/2006/relationships/tags" Target="../tags/tag501.xml"/><Relationship Id="rId11" Type="http://schemas.openxmlformats.org/officeDocument/2006/relationships/tags" Target="../tags/tag506.xml"/><Relationship Id="rId24" Type="http://schemas.openxmlformats.org/officeDocument/2006/relationships/tags" Target="../tags/tag519.xml"/><Relationship Id="rId32" Type="http://schemas.openxmlformats.org/officeDocument/2006/relationships/tags" Target="../tags/tag527.xml"/><Relationship Id="rId37" Type="http://schemas.openxmlformats.org/officeDocument/2006/relationships/tags" Target="../tags/tag532.xml"/><Relationship Id="rId40" Type="http://schemas.openxmlformats.org/officeDocument/2006/relationships/slideLayout" Target="../slideLayouts/slideLayout1.xml"/><Relationship Id="rId45" Type="http://schemas.openxmlformats.org/officeDocument/2006/relationships/image" Target="../media/image63.emf"/><Relationship Id="rId53" Type="http://schemas.openxmlformats.org/officeDocument/2006/relationships/image" Target="../media/image67.emf"/><Relationship Id="rId5" Type="http://schemas.openxmlformats.org/officeDocument/2006/relationships/tags" Target="../tags/tag500.xml"/><Relationship Id="rId15" Type="http://schemas.openxmlformats.org/officeDocument/2006/relationships/tags" Target="../tags/tag510.xml"/><Relationship Id="rId23" Type="http://schemas.openxmlformats.org/officeDocument/2006/relationships/tags" Target="../tags/tag518.xml"/><Relationship Id="rId28" Type="http://schemas.openxmlformats.org/officeDocument/2006/relationships/tags" Target="../tags/tag523.xml"/><Relationship Id="rId36" Type="http://schemas.openxmlformats.org/officeDocument/2006/relationships/tags" Target="../tags/tag531.xml"/><Relationship Id="rId49" Type="http://schemas.openxmlformats.org/officeDocument/2006/relationships/image" Target="../media/image65.emf"/><Relationship Id="rId10" Type="http://schemas.openxmlformats.org/officeDocument/2006/relationships/tags" Target="../tags/tag505.xml"/><Relationship Id="rId19" Type="http://schemas.openxmlformats.org/officeDocument/2006/relationships/tags" Target="../tags/tag514.xml"/><Relationship Id="rId31" Type="http://schemas.openxmlformats.org/officeDocument/2006/relationships/tags" Target="../tags/tag526.xml"/><Relationship Id="rId44" Type="http://schemas.openxmlformats.org/officeDocument/2006/relationships/oleObject" Target="../embeddings/oleObject65.bin"/><Relationship Id="rId52" Type="http://schemas.openxmlformats.org/officeDocument/2006/relationships/oleObject" Target="../embeddings/oleObject69.bin"/><Relationship Id="rId4" Type="http://schemas.openxmlformats.org/officeDocument/2006/relationships/tags" Target="../tags/tag499.xml"/><Relationship Id="rId9" Type="http://schemas.openxmlformats.org/officeDocument/2006/relationships/tags" Target="../tags/tag504.xml"/><Relationship Id="rId14" Type="http://schemas.openxmlformats.org/officeDocument/2006/relationships/tags" Target="../tags/tag509.xml"/><Relationship Id="rId22" Type="http://schemas.openxmlformats.org/officeDocument/2006/relationships/tags" Target="../tags/tag517.xml"/><Relationship Id="rId27" Type="http://schemas.openxmlformats.org/officeDocument/2006/relationships/tags" Target="../tags/tag522.xml"/><Relationship Id="rId30" Type="http://schemas.openxmlformats.org/officeDocument/2006/relationships/tags" Target="../tags/tag525.xml"/><Relationship Id="rId35" Type="http://schemas.openxmlformats.org/officeDocument/2006/relationships/tags" Target="../tags/tag530.xml"/><Relationship Id="rId43" Type="http://schemas.openxmlformats.org/officeDocument/2006/relationships/image" Target="../media/image53.emf"/><Relationship Id="rId48" Type="http://schemas.openxmlformats.org/officeDocument/2006/relationships/oleObject" Target="../embeddings/oleObject67.bin"/><Relationship Id="rId8" Type="http://schemas.openxmlformats.org/officeDocument/2006/relationships/tags" Target="../tags/tag503.xml"/><Relationship Id="rId51" Type="http://schemas.openxmlformats.org/officeDocument/2006/relationships/image" Target="../media/image66.emf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546.xml"/><Relationship Id="rId18" Type="http://schemas.openxmlformats.org/officeDocument/2006/relationships/tags" Target="../tags/tag551.xml"/><Relationship Id="rId26" Type="http://schemas.openxmlformats.org/officeDocument/2006/relationships/tags" Target="../tags/tag559.xml"/><Relationship Id="rId39" Type="http://schemas.openxmlformats.org/officeDocument/2006/relationships/tags" Target="../tags/tag572.xml"/><Relationship Id="rId21" Type="http://schemas.openxmlformats.org/officeDocument/2006/relationships/tags" Target="../tags/tag554.xml"/><Relationship Id="rId34" Type="http://schemas.openxmlformats.org/officeDocument/2006/relationships/tags" Target="../tags/tag567.xml"/><Relationship Id="rId42" Type="http://schemas.openxmlformats.org/officeDocument/2006/relationships/tags" Target="../tags/tag575.xml"/><Relationship Id="rId47" Type="http://schemas.openxmlformats.org/officeDocument/2006/relationships/slideLayout" Target="../slideLayouts/slideLayout1.xml"/><Relationship Id="rId50" Type="http://schemas.openxmlformats.org/officeDocument/2006/relationships/image" Target="../media/image68.emf"/><Relationship Id="rId55" Type="http://schemas.openxmlformats.org/officeDocument/2006/relationships/image" Target="../media/image72.png"/><Relationship Id="rId7" Type="http://schemas.openxmlformats.org/officeDocument/2006/relationships/tags" Target="../tags/tag540.xml"/><Relationship Id="rId12" Type="http://schemas.openxmlformats.org/officeDocument/2006/relationships/tags" Target="../tags/tag545.xml"/><Relationship Id="rId17" Type="http://schemas.openxmlformats.org/officeDocument/2006/relationships/tags" Target="../tags/tag550.xml"/><Relationship Id="rId25" Type="http://schemas.openxmlformats.org/officeDocument/2006/relationships/tags" Target="../tags/tag558.xml"/><Relationship Id="rId33" Type="http://schemas.openxmlformats.org/officeDocument/2006/relationships/tags" Target="../tags/tag566.xml"/><Relationship Id="rId38" Type="http://schemas.openxmlformats.org/officeDocument/2006/relationships/tags" Target="../tags/tag571.xml"/><Relationship Id="rId46" Type="http://schemas.openxmlformats.org/officeDocument/2006/relationships/tags" Target="../tags/tag579.xml"/><Relationship Id="rId2" Type="http://schemas.openxmlformats.org/officeDocument/2006/relationships/tags" Target="../tags/tag535.xml"/><Relationship Id="rId16" Type="http://schemas.openxmlformats.org/officeDocument/2006/relationships/tags" Target="../tags/tag549.xml"/><Relationship Id="rId20" Type="http://schemas.openxmlformats.org/officeDocument/2006/relationships/tags" Target="../tags/tag553.xml"/><Relationship Id="rId29" Type="http://schemas.openxmlformats.org/officeDocument/2006/relationships/tags" Target="../tags/tag562.xml"/><Relationship Id="rId41" Type="http://schemas.openxmlformats.org/officeDocument/2006/relationships/tags" Target="../tags/tag574.xml"/><Relationship Id="rId54" Type="http://schemas.openxmlformats.org/officeDocument/2006/relationships/image" Target="../media/image71.png"/><Relationship Id="rId1" Type="http://schemas.openxmlformats.org/officeDocument/2006/relationships/vmlDrawing" Target="../drawings/vmlDrawing53.vml"/><Relationship Id="rId6" Type="http://schemas.openxmlformats.org/officeDocument/2006/relationships/tags" Target="../tags/tag539.xml"/><Relationship Id="rId11" Type="http://schemas.openxmlformats.org/officeDocument/2006/relationships/tags" Target="../tags/tag544.xml"/><Relationship Id="rId24" Type="http://schemas.openxmlformats.org/officeDocument/2006/relationships/tags" Target="../tags/tag557.xml"/><Relationship Id="rId32" Type="http://schemas.openxmlformats.org/officeDocument/2006/relationships/tags" Target="../tags/tag565.xml"/><Relationship Id="rId37" Type="http://schemas.openxmlformats.org/officeDocument/2006/relationships/tags" Target="../tags/tag570.xml"/><Relationship Id="rId40" Type="http://schemas.openxmlformats.org/officeDocument/2006/relationships/tags" Target="../tags/tag573.xml"/><Relationship Id="rId45" Type="http://schemas.openxmlformats.org/officeDocument/2006/relationships/tags" Target="../tags/tag578.xml"/><Relationship Id="rId53" Type="http://schemas.openxmlformats.org/officeDocument/2006/relationships/image" Target="../media/image69.emf"/><Relationship Id="rId5" Type="http://schemas.openxmlformats.org/officeDocument/2006/relationships/tags" Target="../tags/tag538.xml"/><Relationship Id="rId15" Type="http://schemas.openxmlformats.org/officeDocument/2006/relationships/tags" Target="../tags/tag548.xml"/><Relationship Id="rId23" Type="http://schemas.openxmlformats.org/officeDocument/2006/relationships/tags" Target="../tags/tag556.xml"/><Relationship Id="rId28" Type="http://schemas.openxmlformats.org/officeDocument/2006/relationships/tags" Target="../tags/tag561.xml"/><Relationship Id="rId36" Type="http://schemas.openxmlformats.org/officeDocument/2006/relationships/tags" Target="../tags/tag569.xml"/><Relationship Id="rId49" Type="http://schemas.openxmlformats.org/officeDocument/2006/relationships/oleObject" Target="../embeddings/oleObject70.bin"/><Relationship Id="rId10" Type="http://schemas.openxmlformats.org/officeDocument/2006/relationships/tags" Target="../tags/tag543.xml"/><Relationship Id="rId19" Type="http://schemas.openxmlformats.org/officeDocument/2006/relationships/tags" Target="../tags/tag552.xml"/><Relationship Id="rId31" Type="http://schemas.openxmlformats.org/officeDocument/2006/relationships/tags" Target="../tags/tag564.xml"/><Relationship Id="rId44" Type="http://schemas.openxmlformats.org/officeDocument/2006/relationships/tags" Target="../tags/tag577.xml"/><Relationship Id="rId52" Type="http://schemas.openxmlformats.org/officeDocument/2006/relationships/oleObject" Target="../embeddings/oleObject71.bin"/><Relationship Id="rId4" Type="http://schemas.openxmlformats.org/officeDocument/2006/relationships/tags" Target="../tags/tag537.xml"/><Relationship Id="rId9" Type="http://schemas.openxmlformats.org/officeDocument/2006/relationships/tags" Target="../tags/tag542.xml"/><Relationship Id="rId14" Type="http://schemas.openxmlformats.org/officeDocument/2006/relationships/tags" Target="../tags/tag547.xml"/><Relationship Id="rId22" Type="http://schemas.openxmlformats.org/officeDocument/2006/relationships/tags" Target="../tags/tag555.xml"/><Relationship Id="rId27" Type="http://schemas.openxmlformats.org/officeDocument/2006/relationships/tags" Target="../tags/tag560.xml"/><Relationship Id="rId30" Type="http://schemas.openxmlformats.org/officeDocument/2006/relationships/tags" Target="../tags/tag563.xml"/><Relationship Id="rId35" Type="http://schemas.openxmlformats.org/officeDocument/2006/relationships/tags" Target="../tags/tag568.xml"/><Relationship Id="rId43" Type="http://schemas.openxmlformats.org/officeDocument/2006/relationships/tags" Target="../tags/tag576.xml"/><Relationship Id="rId48" Type="http://schemas.openxmlformats.org/officeDocument/2006/relationships/notesSlide" Target="../notesSlides/notesSlide11.xml"/><Relationship Id="rId8" Type="http://schemas.openxmlformats.org/officeDocument/2006/relationships/tags" Target="../tags/tag541.xml"/><Relationship Id="rId51" Type="http://schemas.openxmlformats.org/officeDocument/2006/relationships/image" Target="../media/image70.png"/><Relationship Id="rId3" Type="http://schemas.openxmlformats.org/officeDocument/2006/relationships/tags" Target="../tags/tag53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86.xml"/><Relationship Id="rId13" Type="http://schemas.openxmlformats.org/officeDocument/2006/relationships/notesSlide" Target="../notesSlides/notesSlide12.xml"/><Relationship Id="rId18" Type="http://schemas.openxmlformats.org/officeDocument/2006/relationships/oleObject" Target="../embeddings/oleObject74.bin"/><Relationship Id="rId3" Type="http://schemas.openxmlformats.org/officeDocument/2006/relationships/tags" Target="../tags/tag581.xml"/><Relationship Id="rId7" Type="http://schemas.openxmlformats.org/officeDocument/2006/relationships/tags" Target="../tags/tag585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73.emf"/><Relationship Id="rId2" Type="http://schemas.openxmlformats.org/officeDocument/2006/relationships/tags" Target="../tags/tag580.xml"/><Relationship Id="rId16" Type="http://schemas.openxmlformats.org/officeDocument/2006/relationships/oleObject" Target="../embeddings/oleObject73.bin"/><Relationship Id="rId1" Type="http://schemas.openxmlformats.org/officeDocument/2006/relationships/vmlDrawing" Target="../drawings/vmlDrawing54.vml"/><Relationship Id="rId6" Type="http://schemas.openxmlformats.org/officeDocument/2006/relationships/tags" Target="../tags/tag584.xml"/><Relationship Id="rId11" Type="http://schemas.openxmlformats.org/officeDocument/2006/relationships/tags" Target="../tags/tag589.xml"/><Relationship Id="rId5" Type="http://schemas.openxmlformats.org/officeDocument/2006/relationships/tags" Target="../tags/tag583.xml"/><Relationship Id="rId15" Type="http://schemas.openxmlformats.org/officeDocument/2006/relationships/image" Target="../media/image20.emf"/><Relationship Id="rId10" Type="http://schemas.openxmlformats.org/officeDocument/2006/relationships/tags" Target="../tags/tag588.xml"/><Relationship Id="rId19" Type="http://schemas.openxmlformats.org/officeDocument/2006/relationships/image" Target="../media/image74.emf"/><Relationship Id="rId4" Type="http://schemas.openxmlformats.org/officeDocument/2006/relationships/tags" Target="../tags/tag582.xml"/><Relationship Id="rId9" Type="http://schemas.openxmlformats.org/officeDocument/2006/relationships/tags" Target="../tags/tag587.xml"/><Relationship Id="rId14" Type="http://schemas.openxmlformats.org/officeDocument/2006/relationships/oleObject" Target="../embeddings/oleObject72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596.xml"/><Relationship Id="rId13" Type="http://schemas.openxmlformats.org/officeDocument/2006/relationships/image" Target="../media/image75.emf"/><Relationship Id="rId3" Type="http://schemas.openxmlformats.org/officeDocument/2006/relationships/tags" Target="../tags/tag591.xml"/><Relationship Id="rId7" Type="http://schemas.openxmlformats.org/officeDocument/2006/relationships/tags" Target="../tags/tag595.xml"/><Relationship Id="rId12" Type="http://schemas.openxmlformats.org/officeDocument/2006/relationships/oleObject" Target="../embeddings/oleObject75.bin"/><Relationship Id="rId2" Type="http://schemas.openxmlformats.org/officeDocument/2006/relationships/tags" Target="../tags/tag590.xml"/><Relationship Id="rId1" Type="http://schemas.openxmlformats.org/officeDocument/2006/relationships/vmlDrawing" Target="../drawings/vmlDrawing55.vml"/><Relationship Id="rId6" Type="http://schemas.openxmlformats.org/officeDocument/2006/relationships/tags" Target="../tags/tag594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593.xml"/><Relationship Id="rId15" Type="http://schemas.openxmlformats.org/officeDocument/2006/relationships/image" Target="../media/image77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92.xml"/><Relationship Id="rId9" Type="http://schemas.openxmlformats.org/officeDocument/2006/relationships/tags" Target="../tags/tag597.xml"/><Relationship Id="rId14" Type="http://schemas.openxmlformats.org/officeDocument/2006/relationships/image" Target="../media/image7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99.xml"/><Relationship Id="rId7" Type="http://schemas.openxmlformats.org/officeDocument/2006/relationships/image" Target="../media/image79.jpeg"/><Relationship Id="rId2" Type="http://schemas.openxmlformats.org/officeDocument/2006/relationships/tags" Target="../tags/tag59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76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6.emf"/><Relationship Id="rId11" Type="http://schemas.openxmlformats.org/officeDocument/2006/relationships/image" Target="../media/image31.jpe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30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9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26" Type="http://schemas.openxmlformats.org/officeDocument/2006/relationships/tags" Target="../tags/tag136.xml"/><Relationship Id="rId39" Type="http://schemas.openxmlformats.org/officeDocument/2006/relationships/image" Target="../media/image18.png"/><Relationship Id="rId3" Type="http://schemas.openxmlformats.org/officeDocument/2006/relationships/tags" Target="../tags/tag113.xml"/><Relationship Id="rId21" Type="http://schemas.openxmlformats.org/officeDocument/2006/relationships/tags" Target="../tags/tag131.xml"/><Relationship Id="rId34" Type="http://schemas.openxmlformats.org/officeDocument/2006/relationships/oleObject" Target="../embeddings/oleObject41.bin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5" Type="http://schemas.openxmlformats.org/officeDocument/2006/relationships/tags" Target="../tags/tag135.xml"/><Relationship Id="rId33" Type="http://schemas.openxmlformats.org/officeDocument/2006/relationships/notesSlide" Target="../notesSlides/notesSlide3.xml"/><Relationship Id="rId38" Type="http://schemas.openxmlformats.org/officeDocument/2006/relationships/image" Target="../media/image32.emf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29" Type="http://schemas.openxmlformats.org/officeDocument/2006/relationships/tags" Target="../tags/tag139.xml"/><Relationship Id="rId1" Type="http://schemas.openxmlformats.org/officeDocument/2006/relationships/vmlDrawing" Target="../drawings/vmlDrawing41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tags" Target="../tags/tag134.xml"/><Relationship Id="rId32" Type="http://schemas.openxmlformats.org/officeDocument/2006/relationships/slideLayout" Target="../slideLayouts/slideLayout1.xml"/><Relationship Id="rId37" Type="http://schemas.openxmlformats.org/officeDocument/2006/relationships/oleObject" Target="../embeddings/oleObject42.bin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tags" Target="../tags/tag133.xml"/><Relationship Id="rId28" Type="http://schemas.openxmlformats.org/officeDocument/2006/relationships/tags" Target="../tags/tag138.xml"/><Relationship Id="rId36" Type="http://schemas.openxmlformats.org/officeDocument/2006/relationships/image" Target="../media/image33.jpeg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31" Type="http://schemas.openxmlformats.org/officeDocument/2006/relationships/tags" Target="../tags/tag141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tags" Target="../tags/tag132.xml"/><Relationship Id="rId27" Type="http://schemas.openxmlformats.org/officeDocument/2006/relationships/tags" Target="../tags/tag137.xml"/><Relationship Id="rId30" Type="http://schemas.openxmlformats.org/officeDocument/2006/relationships/tags" Target="../tags/tag140.xml"/><Relationship Id="rId35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9" Type="http://schemas.openxmlformats.org/officeDocument/2006/relationships/tags" Target="../tags/tag179.xml"/><Relationship Id="rId21" Type="http://schemas.openxmlformats.org/officeDocument/2006/relationships/tags" Target="../tags/tag161.xml"/><Relationship Id="rId34" Type="http://schemas.openxmlformats.org/officeDocument/2006/relationships/tags" Target="../tags/tag174.xml"/><Relationship Id="rId42" Type="http://schemas.openxmlformats.org/officeDocument/2006/relationships/tags" Target="../tags/tag182.xml"/><Relationship Id="rId47" Type="http://schemas.openxmlformats.org/officeDocument/2006/relationships/tags" Target="../tags/tag187.xml"/><Relationship Id="rId50" Type="http://schemas.openxmlformats.org/officeDocument/2006/relationships/tags" Target="../tags/tag190.xml"/><Relationship Id="rId55" Type="http://schemas.openxmlformats.org/officeDocument/2006/relationships/tags" Target="../tags/tag195.xml"/><Relationship Id="rId63" Type="http://schemas.openxmlformats.org/officeDocument/2006/relationships/tags" Target="../tags/tag203.xml"/><Relationship Id="rId68" Type="http://schemas.openxmlformats.org/officeDocument/2006/relationships/tags" Target="../tags/tag208.xml"/><Relationship Id="rId76" Type="http://schemas.openxmlformats.org/officeDocument/2006/relationships/tags" Target="../tags/tag216.xml"/><Relationship Id="rId84" Type="http://schemas.openxmlformats.org/officeDocument/2006/relationships/tags" Target="../tags/tag224.xml"/><Relationship Id="rId89" Type="http://schemas.openxmlformats.org/officeDocument/2006/relationships/oleObject" Target="../embeddings/oleObject43.bin"/><Relationship Id="rId7" Type="http://schemas.openxmlformats.org/officeDocument/2006/relationships/tags" Target="../tags/tag147.xml"/><Relationship Id="rId71" Type="http://schemas.openxmlformats.org/officeDocument/2006/relationships/tags" Target="../tags/tag211.xml"/><Relationship Id="rId92" Type="http://schemas.openxmlformats.org/officeDocument/2006/relationships/image" Target="../media/image34.emf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9" Type="http://schemas.openxmlformats.org/officeDocument/2006/relationships/tags" Target="../tags/tag169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tags" Target="../tags/tag172.xml"/><Relationship Id="rId37" Type="http://schemas.openxmlformats.org/officeDocument/2006/relationships/tags" Target="../tags/tag177.xml"/><Relationship Id="rId40" Type="http://schemas.openxmlformats.org/officeDocument/2006/relationships/tags" Target="../tags/tag180.xml"/><Relationship Id="rId45" Type="http://schemas.openxmlformats.org/officeDocument/2006/relationships/tags" Target="../tags/tag185.xml"/><Relationship Id="rId53" Type="http://schemas.openxmlformats.org/officeDocument/2006/relationships/tags" Target="../tags/tag193.xml"/><Relationship Id="rId58" Type="http://schemas.openxmlformats.org/officeDocument/2006/relationships/tags" Target="../tags/tag198.xml"/><Relationship Id="rId66" Type="http://schemas.openxmlformats.org/officeDocument/2006/relationships/tags" Target="../tags/tag206.xml"/><Relationship Id="rId74" Type="http://schemas.openxmlformats.org/officeDocument/2006/relationships/tags" Target="../tags/tag214.xml"/><Relationship Id="rId79" Type="http://schemas.openxmlformats.org/officeDocument/2006/relationships/tags" Target="../tags/tag219.xml"/><Relationship Id="rId87" Type="http://schemas.openxmlformats.org/officeDocument/2006/relationships/slideLayout" Target="../slideLayouts/slideLayout1.xml"/><Relationship Id="rId5" Type="http://schemas.openxmlformats.org/officeDocument/2006/relationships/tags" Target="../tags/tag145.xml"/><Relationship Id="rId61" Type="http://schemas.openxmlformats.org/officeDocument/2006/relationships/tags" Target="../tags/tag201.xml"/><Relationship Id="rId82" Type="http://schemas.openxmlformats.org/officeDocument/2006/relationships/tags" Target="../tags/tag222.xml"/><Relationship Id="rId90" Type="http://schemas.openxmlformats.org/officeDocument/2006/relationships/image" Target="../media/image2.emf"/><Relationship Id="rId19" Type="http://schemas.openxmlformats.org/officeDocument/2006/relationships/tags" Target="../tags/tag15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tags" Target="../tags/tag170.xml"/><Relationship Id="rId35" Type="http://schemas.openxmlformats.org/officeDocument/2006/relationships/tags" Target="../tags/tag175.xml"/><Relationship Id="rId43" Type="http://schemas.openxmlformats.org/officeDocument/2006/relationships/tags" Target="../tags/tag183.xml"/><Relationship Id="rId48" Type="http://schemas.openxmlformats.org/officeDocument/2006/relationships/tags" Target="../tags/tag188.xml"/><Relationship Id="rId56" Type="http://schemas.openxmlformats.org/officeDocument/2006/relationships/tags" Target="../tags/tag196.xml"/><Relationship Id="rId64" Type="http://schemas.openxmlformats.org/officeDocument/2006/relationships/tags" Target="../tags/tag204.xml"/><Relationship Id="rId69" Type="http://schemas.openxmlformats.org/officeDocument/2006/relationships/tags" Target="../tags/tag209.xml"/><Relationship Id="rId77" Type="http://schemas.openxmlformats.org/officeDocument/2006/relationships/tags" Target="../tags/tag217.xml"/><Relationship Id="rId8" Type="http://schemas.openxmlformats.org/officeDocument/2006/relationships/tags" Target="../tags/tag148.xml"/><Relationship Id="rId51" Type="http://schemas.openxmlformats.org/officeDocument/2006/relationships/tags" Target="../tags/tag191.xml"/><Relationship Id="rId72" Type="http://schemas.openxmlformats.org/officeDocument/2006/relationships/tags" Target="../tags/tag212.xml"/><Relationship Id="rId80" Type="http://schemas.openxmlformats.org/officeDocument/2006/relationships/tags" Target="../tags/tag220.xml"/><Relationship Id="rId85" Type="http://schemas.openxmlformats.org/officeDocument/2006/relationships/tags" Target="../tags/tag225.xml"/><Relationship Id="rId93" Type="http://schemas.openxmlformats.org/officeDocument/2006/relationships/oleObject" Target="../embeddings/oleObject45.bin"/><Relationship Id="rId3" Type="http://schemas.openxmlformats.org/officeDocument/2006/relationships/tags" Target="../tags/tag143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tags" Target="../tags/tag173.xml"/><Relationship Id="rId38" Type="http://schemas.openxmlformats.org/officeDocument/2006/relationships/tags" Target="../tags/tag178.xml"/><Relationship Id="rId46" Type="http://schemas.openxmlformats.org/officeDocument/2006/relationships/tags" Target="../tags/tag186.xml"/><Relationship Id="rId59" Type="http://schemas.openxmlformats.org/officeDocument/2006/relationships/tags" Target="../tags/tag199.xml"/><Relationship Id="rId67" Type="http://schemas.openxmlformats.org/officeDocument/2006/relationships/tags" Target="../tags/tag207.xml"/><Relationship Id="rId20" Type="http://schemas.openxmlformats.org/officeDocument/2006/relationships/tags" Target="../tags/tag160.xml"/><Relationship Id="rId41" Type="http://schemas.openxmlformats.org/officeDocument/2006/relationships/tags" Target="../tags/tag181.xml"/><Relationship Id="rId54" Type="http://schemas.openxmlformats.org/officeDocument/2006/relationships/tags" Target="../tags/tag194.xml"/><Relationship Id="rId62" Type="http://schemas.openxmlformats.org/officeDocument/2006/relationships/tags" Target="../tags/tag202.xml"/><Relationship Id="rId70" Type="http://schemas.openxmlformats.org/officeDocument/2006/relationships/tags" Target="../tags/tag210.xml"/><Relationship Id="rId75" Type="http://schemas.openxmlformats.org/officeDocument/2006/relationships/tags" Target="../tags/tag215.xml"/><Relationship Id="rId83" Type="http://schemas.openxmlformats.org/officeDocument/2006/relationships/tags" Target="../tags/tag223.xml"/><Relationship Id="rId88" Type="http://schemas.openxmlformats.org/officeDocument/2006/relationships/notesSlide" Target="../notesSlides/notesSlide4.xml"/><Relationship Id="rId91" Type="http://schemas.openxmlformats.org/officeDocument/2006/relationships/oleObject" Target="../embeddings/oleObject44.bin"/><Relationship Id="rId1" Type="http://schemas.openxmlformats.org/officeDocument/2006/relationships/vmlDrawing" Target="../drawings/vmlDrawing42.vml"/><Relationship Id="rId6" Type="http://schemas.openxmlformats.org/officeDocument/2006/relationships/tags" Target="../tags/tag146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tags" Target="../tags/tag176.xml"/><Relationship Id="rId49" Type="http://schemas.openxmlformats.org/officeDocument/2006/relationships/tags" Target="../tags/tag189.xml"/><Relationship Id="rId57" Type="http://schemas.openxmlformats.org/officeDocument/2006/relationships/tags" Target="../tags/tag197.xml"/><Relationship Id="rId10" Type="http://schemas.openxmlformats.org/officeDocument/2006/relationships/tags" Target="../tags/tag150.xml"/><Relationship Id="rId31" Type="http://schemas.openxmlformats.org/officeDocument/2006/relationships/tags" Target="../tags/tag171.xml"/><Relationship Id="rId44" Type="http://schemas.openxmlformats.org/officeDocument/2006/relationships/tags" Target="../tags/tag184.xml"/><Relationship Id="rId52" Type="http://schemas.openxmlformats.org/officeDocument/2006/relationships/tags" Target="../tags/tag192.xml"/><Relationship Id="rId60" Type="http://schemas.openxmlformats.org/officeDocument/2006/relationships/tags" Target="../tags/tag200.xml"/><Relationship Id="rId65" Type="http://schemas.openxmlformats.org/officeDocument/2006/relationships/tags" Target="../tags/tag205.xml"/><Relationship Id="rId73" Type="http://schemas.openxmlformats.org/officeDocument/2006/relationships/tags" Target="../tags/tag213.xml"/><Relationship Id="rId78" Type="http://schemas.openxmlformats.org/officeDocument/2006/relationships/tags" Target="../tags/tag218.xml"/><Relationship Id="rId81" Type="http://schemas.openxmlformats.org/officeDocument/2006/relationships/tags" Target="../tags/tag221.xml"/><Relationship Id="rId86" Type="http://schemas.openxmlformats.org/officeDocument/2006/relationships/tags" Target="../tags/tag226.xml"/><Relationship Id="rId94" Type="http://schemas.openxmlformats.org/officeDocument/2006/relationships/image" Target="../media/image35.emf"/><Relationship Id="rId4" Type="http://schemas.openxmlformats.org/officeDocument/2006/relationships/tags" Target="../tags/tag144.xml"/><Relationship Id="rId9" Type="http://schemas.openxmlformats.org/officeDocument/2006/relationships/tags" Target="../tags/tag149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26" Type="http://schemas.openxmlformats.org/officeDocument/2006/relationships/tags" Target="../tags/tag251.xml"/><Relationship Id="rId39" Type="http://schemas.openxmlformats.org/officeDocument/2006/relationships/tags" Target="../tags/tag264.xml"/><Relationship Id="rId21" Type="http://schemas.openxmlformats.org/officeDocument/2006/relationships/tags" Target="../tags/tag246.xml"/><Relationship Id="rId34" Type="http://schemas.openxmlformats.org/officeDocument/2006/relationships/tags" Target="../tags/tag259.xml"/><Relationship Id="rId42" Type="http://schemas.openxmlformats.org/officeDocument/2006/relationships/tags" Target="../tags/tag267.xml"/><Relationship Id="rId47" Type="http://schemas.openxmlformats.org/officeDocument/2006/relationships/tags" Target="../tags/tag272.xml"/><Relationship Id="rId50" Type="http://schemas.openxmlformats.org/officeDocument/2006/relationships/tags" Target="../tags/tag275.xml"/><Relationship Id="rId55" Type="http://schemas.openxmlformats.org/officeDocument/2006/relationships/oleObject" Target="../embeddings/oleObject46.bin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33" Type="http://schemas.openxmlformats.org/officeDocument/2006/relationships/tags" Target="../tags/tag258.xml"/><Relationship Id="rId38" Type="http://schemas.openxmlformats.org/officeDocument/2006/relationships/tags" Target="../tags/tag263.xml"/><Relationship Id="rId46" Type="http://schemas.openxmlformats.org/officeDocument/2006/relationships/tags" Target="../tags/tag271.xml"/><Relationship Id="rId59" Type="http://schemas.openxmlformats.org/officeDocument/2006/relationships/oleObject" Target="../embeddings/oleObject48.bin"/><Relationship Id="rId2" Type="http://schemas.openxmlformats.org/officeDocument/2006/relationships/tags" Target="../tags/tag227.xml"/><Relationship Id="rId16" Type="http://schemas.openxmlformats.org/officeDocument/2006/relationships/tags" Target="../tags/tag241.xml"/><Relationship Id="rId20" Type="http://schemas.openxmlformats.org/officeDocument/2006/relationships/tags" Target="../tags/tag245.xml"/><Relationship Id="rId29" Type="http://schemas.openxmlformats.org/officeDocument/2006/relationships/tags" Target="../tags/tag254.xml"/><Relationship Id="rId41" Type="http://schemas.openxmlformats.org/officeDocument/2006/relationships/tags" Target="../tags/tag266.xml"/><Relationship Id="rId54" Type="http://schemas.openxmlformats.org/officeDocument/2006/relationships/notesSlide" Target="../notesSlides/notesSlide5.xml"/><Relationship Id="rId1" Type="http://schemas.openxmlformats.org/officeDocument/2006/relationships/vmlDrawing" Target="../drawings/vmlDrawing43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24" Type="http://schemas.openxmlformats.org/officeDocument/2006/relationships/tags" Target="../tags/tag249.xml"/><Relationship Id="rId32" Type="http://schemas.openxmlformats.org/officeDocument/2006/relationships/tags" Target="../tags/tag257.xml"/><Relationship Id="rId37" Type="http://schemas.openxmlformats.org/officeDocument/2006/relationships/tags" Target="../tags/tag262.xml"/><Relationship Id="rId40" Type="http://schemas.openxmlformats.org/officeDocument/2006/relationships/tags" Target="../tags/tag265.xml"/><Relationship Id="rId45" Type="http://schemas.openxmlformats.org/officeDocument/2006/relationships/tags" Target="../tags/tag270.xml"/><Relationship Id="rId53" Type="http://schemas.openxmlformats.org/officeDocument/2006/relationships/slideLayout" Target="../slideLayouts/slideLayout1.xml"/><Relationship Id="rId58" Type="http://schemas.openxmlformats.org/officeDocument/2006/relationships/image" Target="../media/image36.emf"/><Relationship Id="rId5" Type="http://schemas.openxmlformats.org/officeDocument/2006/relationships/tags" Target="../tags/tag230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tags" Target="../tags/tag253.xml"/><Relationship Id="rId36" Type="http://schemas.openxmlformats.org/officeDocument/2006/relationships/tags" Target="../tags/tag261.xml"/><Relationship Id="rId49" Type="http://schemas.openxmlformats.org/officeDocument/2006/relationships/tags" Target="../tags/tag274.xml"/><Relationship Id="rId57" Type="http://schemas.openxmlformats.org/officeDocument/2006/relationships/oleObject" Target="../embeddings/oleObject47.bin"/><Relationship Id="rId10" Type="http://schemas.openxmlformats.org/officeDocument/2006/relationships/tags" Target="../tags/tag235.xml"/><Relationship Id="rId19" Type="http://schemas.openxmlformats.org/officeDocument/2006/relationships/tags" Target="../tags/tag244.xml"/><Relationship Id="rId31" Type="http://schemas.openxmlformats.org/officeDocument/2006/relationships/tags" Target="../tags/tag256.xml"/><Relationship Id="rId44" Type="http://schemas.openxmlformats.org/officeDocument/2006/relationships/tags" Target="../tags/tag269.xml"/><Relationship Id="rId52" Type="http://schemas.openxmlformats.org/officeDocument/2006/relationships/tags" Target="../tags/tag277.xml"/><Relationship Id="rId60" Type="http://schemas.openxmlformats.org/officeDocument/2006/relationships/image" Target="../media/image37.emf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tags" Target="../tags/tag239.xml"/><Relationship Id="rId22" Type="http://schemas.openxmlformats.org/officeDocument/2006/relationships/tags" Target="../tags/tag247.xml"/><Relationship Id="rId27" Type="http://schemas.openxmlformats.org/officeDocument/2006/relationships/tags" Target="../tags/tag252.xml"/><Relationship Id="rId30" Type="http://schemas.openxmlformats.org/officeDocument/2006/relationships/tags" Target="../tags/tag255.xml"/><Relationship Id="rId35" Type="http://schemas.openxmlformats.org/officeDocument/2006/relationships/tags" Target="../tags/tag260.xml"/><Relationship Id="rId43" Type="http://schemas.openxmlformats.org/officeDocument/2006/relationships/tags" Target="../tags/tag268.xml"/><Relationship Id="rId48" Type="http://schemas.openxmlformats.org/officeDocument/2006/relationships/tags" Target="../tags/tag273.xml"/><Relationship Id="rId56" Type="http://schemas.openxmlformats.org/officeDocument/2006/relationships/image" Target="../media/image20.emf"/><Relationship Id="rId8" Type="http://schemas.openxmlformats.org/officeDocument/2006/relationships/tags" Target="../tags/tag233.xml"/><Relationship Id="rId51" Type="http://schemas.openxmlformats.org/officeDocument/2006/relationships/tags" Target="../tags/tag276.xml"/><Relationship Id="rId3" Type="http://schemas.openxmlformats.org/officeDocument/2006/relationships/tags" Target="../tags/tag228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26" Type="http://schemas.openxmlformats.org/officeDocument/2006/relationships/tags" Target="../tags/tag302.xml"/><Relationship Id="rId39" Type="http://schemas.openxmlformats.org/officeDocument/2006/relationships/tags" Target="../tags/tag315.xml"/><Relationship Id="rId3" Type="http://schemas.openxmlformats.org/officeDocument/2006/relationships/tags" Target="../tags/tag279.xml"/><Relationship Id="rId21" Type="http://schemas.openxmlformats.org/officeDocument/2006/relationships/tags" Target="../tags/tag297.xml"/><Relationship Id="rId34" Type="http://schemas.openxmlformats.org/officeDocument/2006/relationships/tags" Target="../tags/tag310.xml"/><Relationship Id="rId42" Type="http://schemas.openxmlformats.org/officeDocument/2006/relationships/tags" Target="../tags/tag318.xml"/><Relationship Id="rId47" Type="http://schemas.openxmlformats.org/officeDocument/2006/relationships/image" Target="../media/image26.emf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tags" Target="../tags/tag301.xml"/><Relationship Id="rId33" Type="http://schemas.openxmlformats.org/officeDocument/2006/relationships/tags" Target="../tags/tag309.xml"/><Relationship Id="rId38" Type="http://schemas.openxmlformats.org/officeDocument/2006/relationships/tags" Target="../tags/tag314.xml"/><Relationship Id="rId46" Type="http://schemas.openxmlformats.org/officeDocument/2006/relationships/oleObject" Target="../embeddings/oleObject49.bin"/><Relationship Id="rId2" Type="http://schemas.openxmlformats.org/officeDocument/2006/relationships/tags" Target="../tags/tag278.xml"/><Relationship Id="rId16" Type="http://schemas.openxmlformats.org/officeDocument/2006/relationships/tags" Target="../tags/tag292.xml"/><Relationship Id="rId20" Type="http://schemas.openxmlformats.org/officeDocument/2006/relationships/tags" Target="../tags/tag296.xml"/><Relationship Id="rId29" Type="http://schemas.openxmlformats.org/officeDocument/2006/relationships/tags" Target="../tags/tag305.xml"/><Relationship Id="rId41" Type="http://schemas.openxmlformats.org/officeDocument/2006/relationships/tags" Target="../tags/tag317.xml"/><Relationship Id="rId1" Type="http://schemas.openxmlformats.org/officeDocument/2006/relationships/vmlDrawing" Target="../drawings/vmlDrawing44.v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24" Type="http://schemas.openxmlformats.org/officeDocument/2006/relationships/tags" Target="../tags/tag300.xml"/><Relationship Id="rId32" Type="http://schemas.openxmlformats.org/officeDocument/2006/relationships/tags" Target="../tags/tag308.xml"/><Relationship Id="rId37" Type="http://schemas.openxmlformats.org/officeDocument/2006/relationships/tags" Target="../tags/tag313.xml"/><Relationship Id="rId40" Type="http://schemas.openxmlformats.org/officeDocument/2006/relationships/tags" Target="../tags/tag316.xml"/><Relationship Id="rId45" Type="http://schemas.openxmlformats.org/officeDocument/2006/relationships/notesSlide" Target="../notesSlides/notesSlide6.xml"/><Relationship Id="rId5" Type="http://schemas.openxmlformats.org/officeDocument/2006/relationships/tags" Target="../tags/tag281.xml"/><Relationship Id="rId15" Type="http://schemas.openxmlformats.org/officeDocument/2006/relationships/tags" Target="../tags/tag291.xml"/><Relationship Id="rId23" Type="http://schemas.openxmlformats.org/officeDocument/2006/relationships/tags" Target="../tags/tag299.xml"/><Relationship Id="rId28" Type="http://schemas.openxmlformats.org/officeDocument/2006/relationships/tags" Target="../tags/tag304.xml"/><Relationship Id="rId36" Type="http://schemas.openxmlformats.org/officeDocument/2006/relationships/tags" Target="../tags/tag312.xml"/><Relationship Id="rId49" Type="http://schemas.openxmlformats.org/officeDocument/2006/relationships/image" Target="../media/image38.emf"/><Relationship Id="rId10" Type="http://schemas.openxmlformats.org/officeDocument/2006/relationships/tags" Target="../tags/tag286.xml"/><Relationship Id="rId19" Type="http://schemas.openxmlformats.org/officeDocument/2006/relationships/tags" Target="../tags/tag295.xml"/><Relationship Id="rId31" Type="http://schemas.openxmlformats.org/officeDocument/2006/relationships/tags" Target="../tags/tag307.xml"/><Relationship Id="rId44" Type="http://schemas.openxmlformats.org/officeDocument/2006/relationships/slideLayout" Target="../slideLayouts/slideLayout1.xml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tags" Target="../tags/tag298.xml"/><Relationship Id="rId27" Type="http://schemas.openxmlformats.org/officeDocument/2006/relationships/tags" Target="../tags/tag303.xml"/><Relationship Id="rId30" Type="http://schemas.openxmlformats.org/officeDocument/2006/relationships/tags" Target="../tags/tag306.xml"/><Relationship Id="rId35" Type="http://schemas.openxmlformats.org/officeDocument/2006/relationships/tags" Target="../tags/tag311.xml"/><Relationship Id="rId43" Type="http://schemas.openxmlformats.org/officeDocument/2006/relationships/tags" Target="../tags/tag319.xml"/><Relationship Id="rId48" Type="http://schemas.openxmlformats.org/officeDocument/2006/relationships/oleObject" Target="../embeddings/oleObject50.bin"/><Relationship Id="rId8" Type="http://schemas.openxmlformats.org/officeDocument/2006/relationships/tags" Target="../tags/tag2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gif"/><Relationship Id="rId3" Type="http://schemas.openxmlformats.org/officeDocument/2006/relationships/tags" Target="../tags/tag321.xml"/><Relationship Id="rId7" Type="http://schemas.openxmlformats.org/officeDocument/2006/relationships/image" Target="../media/image40.gif"/><Relationship Id="rId2" Type="http://schemas.openxmlformats.org/officeDocument/2006/relationships/tags" Target="../tags/tag32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2.gif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333.xml"/><Relationship Id="rId18" Type="http://schemas.openxmlformats.org/officeDocument/2006/relationships/tags" Target="../tags/tag338.xml"/><Relationship Id="rId26" Type="http://schemas.openxmlformats.org/officeDocument/2006/relationships/tags" Target="../tags/tag346.xml"/><Relationship Id="rId39" Type="http://schemas.openxmlformats.org/officeDocument/2006/relationships/tags" Target="../tags/tag359.xml"/><Relationship Id="rId3" Type="http://schemas.openxmlformats.org/officeDocument/2006/relationships/tags" Target="../tags/tag323.xml"/><Relationship Id="rId21" Type="http://schemas.openxmlformats.org/officeDocument/2006/relationships/tags" Target="../tags/tag341.xml"/><Relationship Id="rId34" Type="http://schemas.openxmlformats.org/officeDocument/2006/relationships/tags" Target="../tags/tag354.xml"/><Relationship Id="rId42" Type="http://schemas.openxmlformats.org/officeDocument/2006/relationships/image" Target="../media/image17.emf"/><Relationship Id="rId47" Type="http://schemas.openxmlformats.org/officeDocument/2006/relationships/image" Target="../media/image45.png"/><Relationship Id="rId50" Type="http://schemas.openxmlformats.org/officeDocument/2006/relationships/image" Target="../media/image48.png"/><Relationship Id="rId7" Type="http://schemas.openxmlformats.org/officeDocument/2006/relationships/tags" Target="../tags/tag327.xml"/><Relationship Id="rId12" Type="http://schemas.openxmlformats.org/officeDocument/2006/relationships/tags" Target="../tags/tag332.xml"/><Relationship Id="rId17" Type="http://schemas.openxmlformats.org/officeDocument/2006/relationships/tags" Target="../tags/tag337.xml"/><Relationship Id="rId25" Type="http://schemas.openxmlformats.org/officeDocument/2006/relationships/tags" Target="../tags/tag345.xml"/><Relationship Id="rId33" Type="http://schemas.openxmlformats.org/officeDocument/2006/relationships/tags" Target="../tags/tag353.xml"/><Relationship Id="rId38" Type="http://schemas.openxmlformats.org/officeDocument/2006/relationships/tags" Target="../tags/tag358.xml"/><Relationship Id="rId46" Type="http://schemas.openxmlformats.org/officeDocument/2006/relationships/image" Target="../media/image44.emf"/><Relationship Id="rId2" Type="http://schemas.openxmlformats.org/officeDocument/2006/relationships/tags" Target="../tags/tag322.xml"/><Relationship Id="rId16" Type="http://schemas.openxmlformats.org/officeDocument/2006/relationships/tags" Target="../tags/tag336.xml"/><Relationship Id="rId20" Type="http://schemas.openxmlformats.org/officeDocument/2006/relationships/tags" Target="../tags/tag340.xml"/><Relationship Id="rId29" Type="http://schemas.openxmlformats.org/officeDocument/2006/relationships/tags" Target="../tags/tag349.xml"/><Relationship Id="rId41" Type="http://schemas.openxmlformats.org/officeDocument/2006/relationships/oleObject" Target="../embeddings/oleObject52.bin"/><Relationship Id="rId1" Type="http://schemas.openxmlformats.org/officeDocument/2006/relationships/vmlDrawing" Target="../drawings/vmlDrawing46.vml"/><Relationship Id="rId6" Type="http://schemas.openxmlformats.org/officeDocument/2006/relationships/tags" Target="../tags/tag326.xml"/><Relationship Id="rId11" Type="http://schemas.openxmlformats.org/officeDocument/2006/relationships/tags" Target="../tags/tag331.xml"/><Relationship Id="rId24" Type="http://schemas.openxmlformats.org/officeDocument/2006/relationships/tags" Target="../tags/tag344.xml"/><Relationship Id="rId32" Type="http://schemas.openxmlformats.org/officeDocument/2006/relationships/tags" Target="../tags/tag352.xml"/><Relationship Id="rId37" Type="http://schemas.openxmlformats.org/officeDocument/2006/relationships/tags" Target="../tags/tag357.xml"/><Relationship Id="rId40" Type="http://schemas.openxmlformats.org/officeDocument/2006/relationships/slideLayout" Target="../slideLayouts/slideLayout1.xml"/><Relationship Id="rId45" Type="http://schemas.openxmlformats.org/officeDocument/2006/relationships/oleObject" Target="../embeddings/oleObject54.bin"/><Relationship Id="rId5" Type="http://schemas.openxmlformats.org/officeDocument/2006/relationships/tags" Target="../tags/tag325.xml"/><Relationship Id="rId15" Type="http://schemas.openxmlformats.org/officeDocument/2006/relationships/tags" Target="../tags/tag335.xml"/><Relationship Id="rId23" Type="http://schemas.openxmlformats.org/officeDocument/2006/relationships/tags" Target="../tags/tag343.xml"/><Relationship Id="rId28" Type="http://schemas.openxmlformats.org/officeDocument/2006/relationships/tags" Target="../tags/tag348.xml"/><Relationship Id="rId36" Type="http://schemas.openxmlformats.org/officeDocument/2006/relationships/tags" Target="../tags/tag356.xml"/><Relationship Id="rId49" Type="http://schemas.openxmlformats.org/officeDocument/2006/relationships/image" Target="../media/image47.png"/><Relationship Id="rId10" Type="http://schemas.openxmlformats.org/officeDocument/2006/relationships/tags" Target="../tags/tag330.xml"/><Relationship Id="rId19" Type="http://schemas.openxmlformats.org/officeDocument/2006/relationships/tags" Target="../tags/tag339.xml"/><Relationship Id="rId31" Type="http://schemas.openxmlformats.org/officeDocument/2006/relationships/tags" Target="../tags/tag351.xml"/><Relationship Id="rId44" Type="http://schemas.openxmlformats.org/officeDocument/2006/relationships/image" Target="../media/image43.emf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4" Type="http://schemas.openxmlformats.org/officeDocument/2006/relationships/tags" Target="../tags/tag334.xml"/><Relationship Id="rId22" Type="http://schemas.openxmlformats.org/officeDocument/2006/relationships/tags" Target="../tags/tag342.xml"/><Relationship Id="rId27" Type="http://schemas.openxmlformats.org/officeDocument/2006/relationships/tags" Target="../tags/tag347.xml"/><Relationship Id="rId30" Type="http://schemas.openxmlformats.org/officeDocument/2006/relationships/tags" Target="../tags/tag350.xml"/><Relationship Id="rId35" Type="http://schemas.openxmlformats.org/officeDocument/2006/relationships/tags" Target="../tags/tag355.xml"/><Relationship Id="rId43" Type="http://schemas.openxmlformats.org/officeDocument/2006/relationships/oleObject" Target="../embeddings/oleObject53.bin"/><Relationship Id="rId48" Type="http://schemas.openxmlformats.org/officeDocument/2006/relationships/image" Target="../media/image46.png"/><Relationship Id="rId8" Type="http://schemas.openxmlformats.org/officeDocument/2006/relationships/tags" Target="../tags/tag328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26" Type="http://schemas.openxmlformats.org/officeDocument/2006/relationships/tags" Target="../tags/tag384.xml"/><Relationship Id="rId39" Type="http://schemas.openxmlformats.org/officeDocument/2006/relationships/tags" Target="../tags/tag397.xml"/><Relationship Id="rId21" Type="http://schemas.openxmlformats.org/officeDocument/2006/relationships/tags" Target="../tags/tag379.xml"/><Relationship Id="rId34" Type="http://schemas.openxmlformats.org/officeDocument/2006/relationships/tags" Target="../tags/tag392.xml"/><Relationship Id="rId42" Type="http://schemas.openxmlformats.org/officeDocument/2006/relationships/tags" Target="../tags/tag400.xml"/><Relationship Id="rId47" Type="http://schemas.openxmlformats.org/officeDocument/2006/relationships/tags" Target="../tags/tag405.xml"/><Relationship Id="rId50" Type="http://schemas.openxmlformats.org/officeDocument/2006/relationships/tags" Target="../tags/tag408.xml"/><Relationship Id="rId55" Type="http://schemas.openxmlformats.org/officeDocument/2006/relationships/image" Target="../media/image50.emf"/><Relationship Id="rId7" Type="http://schemas.openxmlformats.org/officeDocument/2006/relationships/tags" Target="../tags/tag365.x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5" Type="http://schemas.openxmlformats.org/officeDocument/2006/relationships/tags" Target="../tags/tag383.xml"/><Relationship Id="rId33" Type="http://schemas.openxmlformats.org/officeDocument/2006/relationships/tags" Target="../tags/tag391.xml"/><Relationship Id="rId38" Type="http://schemas.openxmlformats.org/officeDocument/2006/relationships/tags" Target="../tags/tag396.xml"/><Relationship Id="rId46" Type="http://schemas.openxmlformats.org/officeDocument/2006/relationships/tags" Target="../tags/tag404.xml"/><Relationship Id="rId2" Type="http://schemas.openxmlformats.org/officeDocument/2006/relationships/tags" Target="../tags/tag360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29" Type="http://schemas.openxmlformats.org/officeDocument/2006/relationships/tags" Target="../tags/tag387.xml"/><Relationship Id="rId41" Type="http://schemas.openxmlformats.org/officeDocument/2006/relationships/tags" Target="../tags/tag399.xml"/><Relationship Id="rId54" Type="http://schemas.openxmlformats.org/officeDocument/2006/relationships/oleObject" Target="../embeddings/oleObject56.bin"/><Relationship Id="rId1" Type="http://schemas.openxmlformats.org/officeDocument/2006/relationships/vmlDrawing" Target="../drawings/vmlDrawing47.vml"/><Relationship Id="rId6" Type="http://schemas.openxmlformats.org/officeDocument/2006/relationships/tags" Target="../tags/tag364.xml"/><Relationship Id="rId11" Type="http://schemas.openxmlformats.org/officeDocument/2006/relationships/tags" Target="../tags/tag369.xml"/><Relationship Id="rId24" Type="http://schemas.openxmlformats.org/officeDocument/2006/relationships/tags" Target="../tags/tag382.xml"/><Relationship Id="rId32" Type="http://schemas.openxmlformats.org/officeDocument/2006/relationships/tags" Target="../tags/tag390.xml"/><Relationship Id="rId37" Type="http://schemas.openxmlformats.org/officeDocument/2006/relationships/tags" Target="../tags/tag395.xml"/><Relationship Id="rId40" Type="http://schemas.openxmlformats.org/officeDocument/2006/relationships/tags" Target="../tags/tag398.xml"/><Relationship Id="rId45" Type="http://schemas.openxmlformats.org/officeDocument/2006/relationships/tags" Target="../tags/tag403.xml"/><Relationship Id="rId53" Type="http://schemas.openxmlformats.org/officeDocument/2006/relationships/image" Target="../media/image49.emf"/><Relationship Id="rId5" Type="http://schemas.openxmlformats.org/officeDocument/2006/relationships/tags" Target="../tags/tag363.xml"/><Relationship Id="rId15" Type="http://schemas.openxmlformats.org/officeDocument/2006/relationships/tags" Target="../tags/tag373.xml"/><Relationship Id="rId23" Type="http://schemas.openxmlformats.org/officeDocument/2006/relationships/tags" Target="../tags/tag381.xml"/><Relationship Id="rId28" Type="http://schemas.openxmlformats.org/officeDocument/2006/relationships/tags" Target="../tags/tag386.xml"/><Relationship Id="rId36" Type="http://schemas.openxmlformats.org/officeDocument/2006/relationships/tags" Target="../tags/tag394.xml"/><Relationship Id="rId49" Type="http://schemas.openxmlformats.org/officeDocument/2006/relationships/tags" Target="../tags/tag407.xml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31" Type="http://schemas.openxmlformats.org/officeDocument/2006/relationships/tags" Target="../tags/tag389.xml"/><Relationship Id="rId44" Type="http://schemas.openxmlformats.org/officeDocument/2006/relationships/tags" Target="../tags/tag402.xml"/><Relationship Id="rId52" Type="http://schemas.openxmlformats.org/officeDocument/2006/relationships/oleObject" Target="../embeddings/oleObject55.bin"/><Relationship Id="rId4" Type="http://schemas.openxmlformats.org/officeDocument/2006/relationships/tags" Target="../tags/tag362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Relationship Id="rId27" Type="http://schemas.openxmlformats.org/officeDocument/2006/relationships/tags" Target="../tags/tag385.xml"/><Relationship Id="rId30" Type="http://schemas.openxmlformats.org/officeDocument/2006/relationships/tags" Target="../tags/tag388.xml"/><Relationship Id="rId35" Type="http://schemas.openxmlformats.org/officeDocument/2006/relationships/tags" Target="../tags/tag393.xml"/><Relationship Id="rId43" Type="http://schemas.openxmlformats.org/officeDocument/2006/relationships/tags" Target="../tags/tag401.xml"/><Relationship Id="rId48" Type="http://schemas.openxmlformats.org/officeDocument/2006/relationships/tags" Target="../tags/tag406.xml"/><Relationship Id="rId8" Type="http://schemas.openxmlformats.org/officeDocument/2006/relationships/tags" Target="../tags/tag366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3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06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372" b="14624"/>
          <a:stretch/>
        </p:blipFill>
        <p:spPr>
          <a:xfrm>
            <a:off x="0" y="1"/>
            <a:ext cx="11949113" cy="6721475"/>
          </a:xfrm>
          <a:prstGeom prst="rect">
            <a:avLst/>
          </a:prstGeom>
          <a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0" ty="0" sx="100000" sy="100000" flip="none" algn="tl"/>
          </a:blipFill>
        </p:spPr>
      </p:pic>
      <p:sp>
        <p:nvSpPr>
          <p:cNvPr id="12" name="Disclaimer-English (United States)"/>
          <p:cNvSpPr>
            <a:spLocks noChangeArrowheads="1"/>
          </p:cNvSpPr>
          <p:nvPr/>
        </p:nvSpPr>
        <p:spPr bwMode="auto">
          <a:xfrm>
            <a:off x="475488" y="6385162"/>
            <a:ext cx="3286156" cy="1846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t" anchorCtr="0">
            <a:spAutoFit/>
          </a:bodyPr>
          <a:lstStyle/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CONFIDENTIAL AND PROPRIETARY</a:t>
            </a:r>
          </a:p>
          <a:p>
            <a:r>
              <a:rPr lang="en-GB" sz="600" dirty="0">
                <a:solidFill>
                  <a:srgbClr val="FFFFFF">
                    <a:alpha val="50000"/>
                  </a:srgbClr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3" name="TitleRectangle"/>
          <p:cNvSpPr>
            <a:spLocks/>
          </p:cNvSpPr>
          <p:nvPr/>
        </p:nvSpPr>
        <p:spPr bwMode="white">
          <a:xfrm>
            <a:off x="2781425" y="1"/>
            <a:ext cx="9169806" cy="3530599"/>
          </a:xfrm>
          <a:prstGeom prst="rect">
            <a:avLst/>
          </a:prstGeom>
          <a:solidFill>
            <a:schemeClr val="tx2">
              <a:alpha val="7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28836" y="1100502"/>
            <a:ext cx="7172464" cy="886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n Exciting Energy Future:  Innovation, Access, and Sustainability</a:t>
            </a:r>
          </a:p>
        </p:txBody>
      </p:sp>
      <p:sp>
        <p:nvSpPr>
          <p:cNvPr id="7" name="Document type"/>
          <p:cNvSpPr txBox="1">
            <a:spLocks noChangeArrowheads="1"/>
          </p:cNvSpPr>
          <p:nvPr/>
        </p:nvSpPr>
        <p:spPr bwMode="auto">
          <a:xfrm>
            <a:off x="3228835" y="2722460"/>
            <a:ext cx="448719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200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sz="1600" dirty="0">
                <a:solidFill>
                  <a:srgbClr val="FFFFFF"/>
                </a:solidFill>
              </a:rPr>
              <a:t>March 2018</a:t>
            </a:r>
          </a:p>
        </p:txBody>
      </p:sp>
    </p:spTree>
    <p:extLst>
      <p:ext uri="{BB962C8B-B14F-4D97-AF65-F5344CB8AC3E}">
        <p14:creationId xmlns:p14="http://schemas.microsoft.com/office/powerpoint/2010/main" val="1018675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4" name="think-cell Slide" r:id="rId55" imgW="395" imgH="394" progId="TCLayout.ActiveDocument.1">
                  <p:embed/>
                </p:oleObj>
              </mc:Choice>
              <mc:Fallback>
                <p:oleObj name="think-cell Slide" r:id="rId55" imgW="395" imgH="394" progId="TCLayout.ActiveDocument.1">
                  <p:embed/>
                  <p:pic>
                    <p:nvPicPr>
                      <p:cNvPr id="68" name="Object 67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6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0189"/>
            <a:ext cx="10969498" cy="800219"/>
          </a:xfrm>
        </p:spPr>
        <p:txBody>
          <a:bodyPr/>
          <a:lstStyle/>
          <a:p>
            <a:r>
              <a:rPr lang="en-CA" dirty="0"/>
              <a:t>Decreasing costs of solar plus battery storage will soon make load defection economically sound in many markets</a:t>
            </a: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475489" y="6328797"/>
            <a:ext cx="720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DER valuation tool and analysis</a:t>
            </a:r>
          </a:p>
        </p:txBody>
      </p:sp>
      <p:cxnSp>
        <p:nvCxnSpPr>
          <p:cNvPr id="12" name="Straight Connector 11"/>
          <p:cNvCxnSpPr/>
          <p:nvPr>
            <p:custDataLst>
              <p:tags r:id="rId4"/>
            </p:custDataLst>
          </p:nvPr>
        </p:nvCxnSpPr>
        <p:spPr bwMode="gray">
          <a:xfrm flipV="1">
            <a:off x="796925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5"/>
            </p:custDataLst>
          </p:nvPr>
        </p:nvCxnSpPr>
        <p:spPr bwMode="gray">
          <a:xfrm flipV="1">
            <a:off x="69469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gray">
          <a:xfrm flipV="1">
            <a:off x="5924550" y="5087938"/>
            <a:ext cx="0" cy="5556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gray">
          <a:xfrm flipV="1">
            <a:off x="54102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8"/>
            </p:custDataLst>
          </p:nvPr>
        </p:nvCxnSpPr>
        <p:spPr bwMode="gray">
          <a:xfrm flipV="1">
            <a:off x="64389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9"/>
            </p:custDataLst>
          </p:nvPr>
        </p:nvCxnSpPr>
        <p:spPr bwMode="gray">
          <a:xfrm flipV="1">
            <a:off x="8483600" y="5087938"/>
            <a:ext cx="0" cy="55563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gray">
          <a:xfrm flipV="1">
            <a:off x="746125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5041900" y="2247900"/>
          <a:ext cx="3543177" cy="299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5" name="Chart" r:id="rId57" imgW="3543284" imgH="2997025" progId="MSGraph.Chart.8">
                  <p:embed followColorScheme="full"/>
                </p:oleObj>
              </mc:Choice>
              <mc:Fallback>
                <p:oleObj name="Chart" r:id="rId57" imgW="3543284" imgH="2997025" progId="MSGraph.Chart.8">
                  <p:embed followColorScheme="full"/>
                  <p:pic>
                    <p:nvPicPr>
                      <p:cNvPr id="14" name="Object 13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5041900" y="2247900"/>
                        <a:ext cx="3543177" cy="2997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8771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E78078FF-7985-4BE6-BF6B-1D4EDBF0C228}" type="datetime'''''''''''''''''''''''''''''2''''''8'''''''''''''''''''''''''">
              <a:rPr lang="en-US" altLang="en-US" sz="1300">
                <a:solidFill>
                  <a:schemeClr val="accent6"/>
                </a:solidFill>
              </a:rPr>
              <a:pPr/>
              <a:t>28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299450" y="5240338"/>
            <a:ext cx="36830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D666C3FF-5D1A-478F-8A88-695725028EF6}" type="datetime'''''20''''''''''''3''''''''''''''''''''''''''''''''''''0'">
              <a:rPr lang="en-US" altLang="en-US" sz="1300">
                <a:solidFill>
                  <a:schemeClr val="accent6"/>
                </a:solidFill>
              </a:rPr>
              <a:pPr/>
              <a:t>203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85482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BD950CB1-F77D-4B88-8002-FA3F18A64F74}" type="datetime'''2''''''4'''''''''''''''''''''''''''''''''''''">
              <a:rPr lang="en-US" altLang="en-US" sz="1300">
                <a:solidFill>
                  <a:schemeClr val="accent6"/>
                </a:solidFill>
              </a:rPr>
              <a:pPr/>
              <a:t>24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324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6ED8DBBE-EBEE-4002-90CE-16AB70216725}" type="datetime'2''''''''''''''''''''''''''0'''''''''''''''''''''''''''''''''">
              <a:rPr lang="en-US" altLang="en-US" sz="1300">
                <a:solidFill>
                  <a:schemeClr val="accent6"/>
                </a:solidFill>
              </a:rPr>
              <a:pPr/>
              <a:t>2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226050" y="5240338"/>
            <a:ext cx="36830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BBEA2AA4-D449-471E-903B-8200B4474115}" type="datetime'''''''''''''''''''''''''2''0''''''''''''''''1''''''''''8'">
              <a:rPr lang="en-US" altLang="en-US" sz="1300">
                <a:solidFill>
                  <a:schemeClr val="accent6"/>
                </a:solidFill>
              </a:rPr>
              <a:pPr/>
              <a:t>2018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987925" y="4692650"/>
            <a:ext cx="92075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0C63439-5B0B-4613-B8D7-BB1BFE3E9807}" type="datetime'5'''''''''''''''''''''''''''''''''''''''''''''''''''''''">
              <a:rPr lang="en-US" altLang="en-US" sz="1300">
                <a:solidFill>
                  <a:schemeClr val="accent6"/>
                </a:solidFill>
              </a:rPr>
              <a:pPr/>
              <a:t>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34682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31FE2A84-D005-4BB0-9A5D-CB93BE34E4C8}" type="datetime'''''2''''''''''''''''''''''2'''''''">
              <a:rPr lang="en-US" altLang="en-US" sz="1300">
                <a:solidFill>
                  <a:schemeClr val="accent6"/>
                </a:solidFill>
              </a:rPr>
              <a:pPr/>
              <a:t>22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95850" y="39751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1F22E92-4710-4351-98F0-831B7A5E2A1E}" type="datetime'''''1''''''''''''''''''''''''''''''''''''''5'''''''">
              <a:rPr lang="en-US" altLang="en-US" sz="1300">
                <a:solidFill>
                  <a:schemeClr val="accent6"/>
                </a:solidFill>
              </a:rPr>
              <a:pPr/>
              <a:t>1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95850" y="43370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AFAB508-86FB-4CBD-9763-6F8EA04EA2D4}" type="datetime'''''10'''''''''''''''''''''''''''''''''''''''''''''''''">
              <a:rPr lang="en-US" altLang="en-US" sz="1300">
                <a:solidFill>
                  <a:schemeClr val="accent6"/>
                </a:solidFill>
              </a:rPr>
              <a:pPr/>
              <a:t>1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987925" y="5054600"/>
            <a:ext cx="92075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EA9AE04-2A27-4B57-B91C-D5EAFDD4E734}" type="datetime'''''''''''''''''0'''''''''''''''''''''''''''''''''''">
              <a:rPr lang="en-US" altLang="en-US" sz="1300">
                <a:solidFill>
                  <a:schemeClr val="accent6"/>
                </a:solidFill>
              </a:rPr>
              <a:pPr/>
              <a:t>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3691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6FDB46F0-66FA-4569-B673-A9D7C98A78CD}" type="datetime'''''''''''''''''''''2''''''''''''''''''''''''''6'''''''''">
              <a:rPr lang="en-US" altLang="en-US" sz="1300">
                <a:solidFill>
                  <a:schemeClr val="accent6"/>
                </a:solidFill>
              </a:rPr>
              <a:pPr/>
              <a:t>26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95850" y="25336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91741370-64A4-416D-81A5-431F2A74A56D}" type="datetime'''''3''''''''''''''5'''">
              <a:rPr lang="en-US" altLang="en-US" sz="1300">
                <a:solidFill>
                  <a:schemeClr val="accent6"/>
                </a:solidFill>
              </a:rPr>
              <a:pPr/>
              <a:t>3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95850" y="28956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2010FBB-AB3F-4DA2-8FCB-64A06FB00673}" type="datetime'''''''''''''''3''''''''''''''0'''">
              <a:rPr lang="en-US" altLang="en-US" sz="1300">
                <a:solidFill>
                  <a:schemeClr val="accent6"/>
                </a:solidFill>
              </a:rPr>
              <a:pPr/>
              <a:t>3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95850" y="36131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6D93083C-7CAE-4CD8-B1A2-DC6460F19B7D}" type="datetime'''''''''''''''''''''''''''''''''''''''''''2''0'''''''''''''''">
              <a:rPr lang="en-US" altLang="en-US" sz="1300">
                <a:solidFill>
                  <a:schemeClr val="accent6"/>
                </a:solidFill>
              </a:rPr>
              <a:pPr/>
              <a:t>2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95850" y="32512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F723F8D-3F38-4BA3-BE61-97E268E0524D}" type="datetime'''2''''''''''''5'''''''''''''''''''''''''''''''">
              <a:rPr lang="en-US" altLang="en-US" sz="1300">
                <a:solidFill>
                  <a:schemeClr val="accent6"/>
                </a:solidFill>
              </a:rPr>
              <a:pPr/>
              <a:t>2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27"/>
            </p:custDataLst>
          </p:nvPr>
        </p:nvCxnSpPr>
        <p:spPr bwMode="gray">
          <a:xfrm flipV="1">
            <a:off x="39497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>
            <p:custDataLst>
              <p:tags r:id="rId28"/>
            </p:custDataLst>
          </p:nvPr>
        </p:nvCxnSpPr>
        <p:spPr bwMode="gray">
          <a:xfrm flipV="1">
            <a:off x="343535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29"/>
            </p:custDataLst>
          </p:nvPr>
        </p:nvCxnSpPr>
        <p:spPr bwMode="gray">
          <a:xfrm flipV="1">
            <a:off x="24130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>
            <p:custDataLst>
              <p:tags r:id="rId30"/>
            </p:custDataLst>
          </p:nvPr>
        </p:nvCxnSpPr>
        <p:spPr bwMode="gray">
          <a:xfrm flipV="1">
            <a:off x="19050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31"/>
            </p:custDataLst>
          </p:nvPr>
        </p:nvCxnSpPr>
        <p:spPr bwMode="gray">
          <a:xfrm flipV="1">
            <a:off x="292735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32"/>
            </p:custDataLst>
          </p:nvPr>
        </p:nvCxnSpPr>
        <p:spPr bwMode="gray">
          <a:xfrm flipV="1">
            <a:off x="139065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33"/>
            </p:custDataLst>
          </p:nvPr>
        </p:nvCxnSpPr>
        <p:spPr bwMode="gray">
          <a:xfrm flipV="1">
            <a:off x="876300" y="5087938"/>
            <a:ext cx="0" cy="55562"/>
          </a:xfrm>
          <a:prstGeom prst="line">
            <a:avLst/>
          </a:pr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7" name="Object 36"/>
          <p:cNvGraphicFramePr>
            <a:graphicFrameLocks/>
          </p:cNvGraphicFramePr>
          <p:nvPr>
            <p:custDataLst>
              <p:tags r:id="rId34"/>
            </p:custDataLst>
            <p:extLst/>
          </p:nvPr>
        </p:nvGraphicFramePr>
        <p:xfrm>
          <a:off x="520700" y="2247900"/>
          <a:ext cx="3536864" cy="299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46" name="Chart" r:id="rId59" imgW="3536991" imgH="2997025" progId="MSGraph.Chart.8">
                  <p:embed followColorScheme="full"/>
                </p:oleObj>
              </mc:Choice>
              <mc:Fallback>
                <p:oleObj name="Chart" r:id="rId59" imgW="3536991" imgH="2997025" progId="MSGraph.Chart.8">
                  <p:embed followColorScheme="full"/>
                  <p:pic>
                    <p:nvPicPr>
                      <p:cNvPr id="37" name="Object 36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520700" y="2247900"/>
                        <a:ext cx="3536864" cy="2997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61950" y="32512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5D45594-8FFE-435F-A331-DA39C24758B3}" type="datetime'''''''''''''''''''''''''''''''''''''''2''''5'''''''''''''''''">
              <a:rPr lang="en-US" altLang="en-US" sz="1300">
                <a:solidFill>
                  <a:schemeClr val="accent6"/>
                </a:solidFill>
              </a:rPr>
              <a:pPr/>
              <a:t>2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61950" y="36131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88FF8469-2D6E-4B56-958E-ABBC6A2972F9}" type="datetime'''''''''2''''''0'''''''''''">
              <a:rPr lang="en-US" altLang="en-US" sz="1300">
                <a:solidFill>
                  <a:schemeClr val="accent6"/>
                </a:solidFill>
              </a:rPr>
              <a:pPr/>
              <a:t>2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54025" y="5054600"/>
            <a:ext cx="92075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32C48AB-36F9-4CC5-B33C-84A0799E4072}" type="datetime'''''''''''''''''''''0'''''''''''''">
              <a:rPr lang="en-US" altLang="en-US" sz="1300">
                <a:solidFill>
                  <a:schemeClr val="accent6"/>
                </a:solidFill>
              </a:rPr>
              <a:pPr/>
              <a:t>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3432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09F364B-F681-49F6-A070-0D518AC9DBFF}" type="datetime'''''''''''''''''''''''''''''''''2''''''''8'''''">
              <a:rPr lang="en-US" altLang="en-US" sz="1300">
                <a:solidFill>
                  <a:schemeClr val="accent6"/>
                </a:solidFill>
              </a:rPr>
              <a:pPr/>
              <a:t>28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61950" y="43370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5A389AE-2962-4EBE-B93E-53103618775B}" type="datetime'''''''''1''''''''''''''''''''''0'''''''''''''''''''''''''''">
              <a:rPr lang="en-US" altLang="en-US" sz="1300">
                <a:solidFill>
                  <a:schemeClr val="accent6"/>
                </a:solidFill>
              </a:rPr>
              <a:pPr/>
              <a:t>1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54025" y="4692650"/>
            <a:ext cx="92075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C0BA4135-8FF7-4A9F-95F1-3D7683798B64}" type="datetime'''''''''''''''''''''5'''''''''''''''''''''''''''''''''''">
              <a:rPr lang="en-US" altLang="en-US" sz="1300">
                <a:solidFill>
                  <a:schemeClr val="accent6"/>
                </a:solidFill>
              </a:rPr>
              <a:pPr/>
              <a:t>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765550" y="5240338"/>
            <a:ext cx="36830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BC5C50F-F33B-4524-A1A6-9A09EA1DE386}" type="datetime'2''''''''''''''''0''''3''''''''''''''''''''0'''''">
              <a:rPr lang="en-US" altLang="en-US" sz="1300">
                <a:solidFill>
                  <a:schemeClr val="accent6"/>
                </a:solidFill>
              </a:rPr>
              <a:pPr/>
              <a:t>203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32092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4D314D87-0C5D-479A-8376-1942B2B5A2E6}" type="datetime'''''''''''''''''''''''''''''''''''''''''''2''''''''4'">
              <a:rPr lang="en-US" altLang="en-US" sz="1300">
                <a:solidFill>
                  <a:schemeClr val="accent6"/>
                </a:solidFill>
              </a:rPr>
              <a:pPr/>
              <a:t>24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28352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92954509-4063-4921-ADB3-272AA827FCCA}" type="datetime'''''''''''''2''''''''''''''''''''''''''''''6'''''''''">
              <a:rPr lang="en-US" altLang="en-US" sz="1300">
                <a:solidFill>
                  <a:schemeClr val="accent6"/>
                </a:solidFill>
              </a:rPr>
              <a:pPr/>
              <a:t>26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81292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A3E20546-AD36-4DC0-841F-E26EA53AD465}" type="datetime'2''''''''''''''2'">
              <a:rPr lang="en-US" altLang="en-US" sz="1300">
                <a:solidFill>
                  <a:schemeClr val="accent6"/>
                </a:solidFill>
              </a:rPr>
              <a:pPr/>
              <a:t>22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298575" y="5240338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F4CAEE29-8EB9-47A0-90E5-FF334671A41E}" type="datetime'''''''''''''2''''''''''''0'">
              <a:rPr lang="en-US" altLang="en-US" sz="1300">
                <a:solidFill>
                  <a:schemeClr val="accent6"/>
                </a:solidFill>
              </a:rPr>
              <a:pPr/>
              <a:t>2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2150" y="5240338"/>
            <a:ext cx="36830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21C514DF-2DEA-4B00-921E-AB0569AE1DF7}" type="datetime'2''0''''''''''''''''''''1''''''8'''''''''">
              <a:rPr lang="en-US" altLang="en-US" sz="1300">
                <a:solidFill>
                  <a:schemeClr val="accent6"/>
                </a:solidFill>
              </a:rPr>
              <a:pPr/>
              <a:t>2018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61950" y="253365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39E303C0-6551-48CC-A20E-CB17BE455B8B}" type="datetime'''3''5'''''''''''''">
              <a:rPr lang="en-US" altLang="en-US" sz="1300">
                <a:solidFill>
                  <a:schemeClr val="accent6"/>
                </a:solidFill>
              </a:rPr>
              <a:pPr/>
              <a:t>3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61950" y="39751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3ACAADD-B307-4A46-9857-3FE88F089A47}" type="datetime'''''''''''1''''''''''''''''''''''''''''''''''''''5'''">
              <a:rPr lang="en-US" altLang="en-US" sz="1300">
                <a:solidFill>
                  <a:schemeClr val="accent6"/>
                </a:solidFill>
              </a:rPr>
              <a:pPr/>
              <a:t>15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61950" y="2895600"/>
            <a:ext cx="184150" cy="17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14015CB-175C-4663-87CA-71B4C21AE444}" type="datetime'''''''''''''''''''''''''''''30'''''''''''''''''''''''''''''">
              <a:rPr lang="en-US" altLang="en-US" sz="1300">
                <a:solidFill>
                  <a:schemeClr val="accent6"/>
                </a:solidFill>
              </a:rPr>
              <a:pPr/>
              <a:t>30</a:t>
            </a:fld>
            <a:endParaRPr lang="en-US" sz="1300" dirty="0">
              <a:solidFill>
                <a:schemeClr val="accent6"/>
              </a:solidFill>
              <a:sym typeface="+mn-lt"/>
            </a:endParaRPr>
          </a:p>
        </p:txBody>
      </p:sp>
      <p:cxnSp>
        <p:nvCxnSpPr>
          <p:cNvPr id="53" name="Straight Connector 52"/>
          <p:cNvCxnSpPr/>
          <p:nvPr>
            <p:custDataLst>
              <p:tags r:id="rId50"/>
            </p:custDataLst>
          </p:nvPr>
        </p:nvCxnSpPr>
        <p:spPr bwMode="white">
          <a:xfrm>
            <a:off x="9448800" y="1409700"/>
            <a:ext cx="165100" cy="0"/>
          </a:xfrm>
          <a:prstGeom prst="line">
            <a:avLst/>
          </a:prstGeom>
          <a:ln w="3175">
            <a:solidFill>
              <a:schemeClr val="bg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51"/>
            </p:custDataLst>
          </p:nvPr>
        </p:nvCxnSpPr>
        <p:spPr bwMode="white">
          <a:xfrm>
            <a:off x="9448800" y="955675"/>
            <a:ext cx="165100" cy="0"/>
          </a:xfrm>
          <a:prstGeom prst="line">
            <a:avLst/>
          </a:prstGeom>
          <a:ln w="317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715500" y="1325563"/>
            <a:ext cx="1731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ED42668-E739-4F6B-8F65-C75736A82F4B}" type="datetime'''''''Cos''t ''o''''''f ''avoid''ed'' electr''''ic''it''''y'">
              <a:rPr lang="en-US" altLang="en-US" sz="1200">
                <a:solidFill>
                  <a:schemeClr val="accent6"/>
                </a:solidFill>
              </a:rPr>
              <a:pPr/>
              <a:t>Cost of avoided electricity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715500" y="871538"/>
            <a:ext cx="1851025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 err="1">
                <a:solidFill>
                  <a:schemeClr val="accent6"/>
                </a:solidFill>
              </a:rPr>
              <a:t>Levelized</a:t>
            </a:r>
            <a:r>
              <a:rPr lang="en-US" altLang="en-US" sz="1200" dirty="0">
                <a:solidFill>
                  <a:schemeClr val="accent6"/>
                </a:solidFill>
              </a:rPr>
              <a:t> cost of customer-</a:t>
            </a:r>
          </a:p>
          <a:p>
            <a:r>
              <a:rPr lang="en-US" altLang="en-US" sz="1200" dirty="0">
                <a:solidFill>
                  <a:schemeClr val="accent6"/>
                </a:solidFill>
              </a:rPr>
              <a:t>sited energy</a:t>
            </a:r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25475" y="1843088"/>
            <a:ext cx="4302125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/>
              <a:t>Full grid defection</a:t>
            </a:r>
            <a:r>
              <a:rPr lang="en-US" sz="1300" b="1" baseline="30000" dirty="0"/>
              <a:t>1</a:t>
            </a:r>
            <a:r>
              <a:rPr lang="en-US" sz="1300" b="1" dirty="0"/>
              <a:t> scenario</a:t>
            </a:r>
          </a:p>
          <a:p>
            <a:r>
              <a:rPr lang="en-US" sz="1300" dirty="0">
                <a:solidFill>
                  <a:schemeClr val="bg1">
                    <a:lumMod val="50000"/>
                  </a:schemeClr>
                </a:solidFill>
              </a:rPr>
              <a:t>Cents/kWh </a:t>
            </a:r>
          </a:p>
        </p:txBody>
      </p:sp>
      <p:cxnSp>
        <p:nvCxnSpPr>
          <p:cNvPr id="58" name="Straight Connector 57"/>
          <p:cNvCxnSpPr/>
          <p:nvPr/>
        </p:nvCxnSpPr>
        <p:spPr>
          <a:xfrm>
            <a:off x="625475" y="2243138"/>
            <a:ext cx="35951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5154613" y="1843088"/>
            <a:ext cx="4302125" cy="40011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/>
              <a:t>Partial (90%) grid defection scenario</a:t>
            </a:r>
          </a:p>
          <a:p>
            <a:r>
              <a:rPr lang="en-US" sz="1300" dirty="0">
                <a:solidFill>
                  <a:schemeClr val="bg1">
                    <a:lumMod val="50000"/>
                  </a:schemeClr>
                </a:solidFill>
              </a:rPr>
              <a:t>Cents/kWh</a:t>
            </a:r>
          </a:p>
        </p:txBody>
      </p:sp>
      <p:cxnSp>
        <p:nvCxnSpPr>
          <p:cNvPr id="60" name="Straight Connector 59"/>
          <p:cNvCxnSpPr/>
          <p:nvPr/>
        </p:nvCxnSpPr>
        <p:spPr>
          <a:xfrm>
            <a:off x="5154613" y="2243138"/>
            <a:ext cx="35951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Freeform 60"/>
          <p:cNvSpPr/>
          <p:nvPr/>
        </p:nvSpPr>
        <p:spPr>
          <a:xfrm>
            <a:off x="625475" y="3371850"/>
            <a:ext cx="3327400" cy="884767"/>
          </a:xfrm>
          <a:custGeom>
            <a:avLst/>
            <a:gdLst>
              <a:gd name="connsiteX0" fmla="*/ 0 w 3327400"/>
              <a:gd name="connsiteY0" fmla="*/ 884767 h 884767"/>
              <a:gd name="connsiteX1" fmla="*/ 757767 w 3327400"/>
              <a:gd name="connsiteY1" fmla="*/ 723900 h 884767"/>
              <a:gd name="connsiteX2" fmla="*/ 2053167 w 3327400"/>
              <a:gd name="connsiteY2" fmla="*/ 406400 h 884767"/>
              <a:gd name="connsiteX3" fmla="*/ 3327400 w 3327400"/>
              <a:gd name="connsiteY3" fmla="*/ 0 h 884767"/>
              <a:gd name="connsiteX4" fmla="*/ 3323167 w 3327400"/>
              <a:gd name="connsiteY4" fmla="*/ 592667 h 884767"/>
              <a:gd name="connsiteX5" fmla="*/ 778933 w 3327400"/>
              <a:gd name="connsiteY5" fmla="*/ 821267 h 884767"/>
              <a:gd name="connsiteX6" fmla="*/ 0 w 3327400"/>
              <a:gd name="connsiteY6" fmla="*/ 884767 h 884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27400" h="884767">
                <a:moveTo>
                  <a:pt x="0" y="884767"/>
                </a:moveTo>
                <a:lnTo>
                  <a:pt x="757767" y="723900"/>
                </a:lnTo>
                <a:lnTo>
                  <a:pt x="2053167" y="406400"/>
                </a:lnTo>
                <a:lnTo>
                  <a:pt x="3327400" y="0"/>
                </a:lnTo>
                <a:lnTo>
                  <a:pt x="3323167" y="592667"/>
                </a:lnTo>
                <a:lnTo>
                  <a:pt x="778933" y="821267"/>
                </a:lnTo>
                <a:lnTo>
                  <a:pt x="0" y="884767"/>
                </a:lnTo>
                <a:close/>
              </a:path>
            </a:pathLst>
          </a:custGeom>
          <a:solidFill>
            <a:srgbClr val="0065BD">
              <a:alpha val="7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619125" y="2360613"/>
            <a:ext cx="3334016" cy="1252803"/>
          </a:xfrm>
          <a:custGeom>
            <a:avLst/>
            <a:gdLst>
              <a:gd name="connsiteX0" fmla="*/ 8466 w 3323166"/>
              <a:gd name="connsiteY0" fmla="*/ 0 h 1198034"/>
              <a:gd name="connsiteX1" fmla="*/ 783166 w 3323166"/>
              <a:gd name="connsiteY1" fmla="*/ 325967 h 1198034"/>
              <a:gd name="connsiteX2" fmla="*/ 2095500 w 3323166"/>
              <a:gd name="connsiteY2" fmla="*/ 546100 h 1198034"/>
              <a:gd name="connsiteX3" fmla="*/ 3318933 w 3323166"/>
              <a:gd name="connsiteY3" fmla="*/ 673100 h 1198034"/>
              <a:gd name="connsiteX4" fmla="*/ 3323166 w 3323166"/>
              <a:gd name="connsiteY4" fmla="*/ 1198034 h 1198034"/>
              <a:gd name="connsiteX5" fmla="*/ 2023533 w 3323166"/>
              <a:gd name="connsiteY5" fmla="*/ 863600 h 1198034"/>
              <a:gd name="connsiteX6" fmla="*/ 0 w 3323166"/>
              <a:gd name="connsiteY6" fmla="*/ 93134 h 1198034"/>
              <a:gd name="connsiteX7" fmla="*/ 8466 w 3323166"/>
              <a:gd name="connsiteY7" fmla="*/ 0 h 1198034"/>
              <a:gd name="connsiteX0" fmla="*/ 8466 w 3441700"/>
              <a:gd name="connsiteY0" fmla="*/ 0 h 1198034"/>
              <a:gd name="connsiteX1" fmla="*/ 783166 w 3441700"/>
              <a:gd name="connsiteY1" fmla="*/ 325967 h 1198034"/>
              <a:gd name="connsiteX2" fmla="*/ 2095500 w 3441700"/>
              <a:gd name="connsiteY2" fmla="*/ 546100 h 1198034"/>
              <a:gd name="connsiteX3" fmla="*/ 3441700 w 3441700"/>
              <a:gd name="connsiteY3" fmla="*/ 880533 h 1198034"/>
              <a:gd name="connsiteX4" fmla="*/ 3323166 w 3441700"/>
              <a:gd name="connsiteY4" fmla="*/ 1198034 h 1198034"/>
              <a:gd name="connsiteX5" fmla="*/ 2023533 w 3441700"/>
              <a:gd name="connsiteY5" fmla="*/ 863600 h 1198034"/>
              <a:gd name="connsiteX6" fmla="*/ 0 w 3441700"/>
              <a:gd name="connsiteY6" fmla="*/ 93134 h 1198034"/>
              <a:gd name="connsiteX7" fmla="*/ 8466 w 3441700"/>
              <a:gd name="connsiteY7" fmla="*/ 0 h 1198034"/>
              <a:gd name="connsiteX0" fmla="*/ 8466 w 3331634"/>
              <a:gd name="connsiteY0" fmla="*/ 0 h 1198034"/>
              <a:gd name="connsiteX1" fmla="*/ 783166 w 3331634"/>
              <a:gd name="connsiteY1" fmla="*/ 325967 h 1198034"/>
              <a:gd name="connsiteX2" fmla="*/ 2095500 w 3331634"/>
              <a:gd name="connsiteY2" fmla="*/ 546100 h 1198034"/>
              <a:gd name="connsiteX3" fmla="*/ 3331634 w 3331634"/>
              <a:gd name="connsiteY3" fmla="*/ 673099 h 1198034"/>
              <a:gd name="connsiteX4" fmla="*/ 3323166 w 3331634"/>
              <a:gd name="connsiteY4" fmla="*/ 1198034 h 1198034"/>
              <a:gd name="connsiteX5" fmla="*/ 2023533 w 3331634"/>
              <a:gd name="connsiteY5" fmla="*/ 863600 h 1198034"/>
              <a:gd name="connsiteX6" fmla="*/ 0 w 3331634"/>
              <a:gd name="connsiteY6" fmla="*/ 93134 h 1198034"/>
              <a:gd name="connsiteX7" fmla="*/ 8466 w 3331634"/>
              <a:gd name="connsiteY7" fmla="*/ 0 h 1198034"/>
              <a:gd name="connsiteX0" fmla="*/ 8466 w 3331634"/>
              <a:gd name="connsiteY0" fmla="*/ 0 h 1198034"/>
              <a:gd name="connsiteX1" fmla="*/ 783166 w 3331634"/>
              <a:gd name="connsiteY1" fmla="*/ 325967 h 1198034"/>
              <a:gd name="connsiteX2" fmla="*/ 2095500 w 3331634"/>
              <a:gd name="connsiteY2" fmla="*/ 546100 h 1198034"/>
              <a:gd name="connsiteX3" fmla="*/ 3331634 w 3331634"/>
              <a:gd name="connsiteY3" fmla="*/ 673099 h 1198034"/>
              <a:gd name="connsiteX4" fmla="*/ 3323166 w 3331634"/>
              <a:gd name="connsiteY4" fmla="*/ 1198034 h 1198034"/>
              <a:gd name="connsiteX5" fmla="*/ 2023533 w 3331634"/>
              <a:gd name="connsiteY5" fmla="*/ 863600 h 1198034"/>
              <a:gd name="connsiteX6" fmla="*/ 742950 w 3331634"/>
              <a:gd name="connsiteY6" fmla="*/ 385234 h 1198034"/>
              <a:gd name="connsiteX7" fmla="*/ 0 w 3331634"/>
              <a:gd name="connsiteY7" fmla="*/ 93134 h 1198034"/>
              <a:gd name="connsiteX8" fmla="*/ 8466 w 3331634"/>
              <a:gd name="connsiteY8" fmla="*/ 0 h 1198034"/>
              <a:gd name="connsiteX0" fmla="*/ 8466 w 3331634"/>
              <a:gd name="connsiteY0" fmla="*/ 0 h 1198034"/>
              <a:gd name="connsiteX1" fmla="*/ 783166 w 3331634"/>
              <a:gd name="connsiteY1" fmla="*/ 325967 h 1198034"/>
              <a:gd name="connsiteX2" fmla="*/ 2043113 w 3331634"/>
              <a:gd name="connsiteY2" fmla="*/ 529432 h 1198034"/>
              <a:gd name="connsiteX3" fmla="*/ 3331634 w 3331634"/>
              <a:gd name="connsiteY3" fmla="*/ 673099 h 1198034"/>
              <a:gd name="connsiteX4" fmla="*/ 3323166 w 3331634"/>
              <a:gd name="connsiteY4" fmla="*/ 1198034 h 1198034"/>
              <a:gd name="connsiteX5" fmla="*/ 2023533 w 3331634"/>
              <a:gd name="connsiteY5" fmla="*/ 863600 h 1198034"/>
              <a:gd name="connsiteX6" fmla="*/ 742950 w 3331634"/>
              <a:gd name="connsiteY6" fmla="*/ 385234 h 1198034"/>
              <a:gd name="connsiteX7" fmla="*/ 0 w 3331634"/>
              <a:gd name="connsiteY7" fmla="*/ 93134 h 1198034"/>
              <a:gd name="connsiteX8" fmla="*/ 8466 w 3331634"/>
              <a:gd name="connsiteY8" fmla="*/ 0 h 1198034"/>
              <a:gd name="connsiteX0" fmla="*/ 8466 w 3331634"/>
              <a:gd name="connsiteY0" fmla="*/ 0 h 1198034"/>
              <a:gd name="connsiteX1" fmla="*/ 756972 w 3331634"/>
              <a:gd name="connsiteY1" fmla="*/ 275961 h 1198034"/>
              <a:gd name="connsiteX2" fmla="*/ 2043113 w 3331634"/>
              <a:gd name="connsiteY2" fmla="*/ 529432 h 1198034"/>
              <a:gd name="connsiteX3" fmla="*/ 3331634 w 3331634"/>
              <a:gd name="connsiteY3" fmla="*/ 673099 h 1198034"/>
              <a:gd name="connsiteX4" fmla="*/ 3323166 w 3331634"/>
              <a:gd name="connsiteY4" fmla="*/ 1198034 h 1198034"/>
              <a:gd name="connsiteX5" fmla="*/ 2023533 w 3331634"/>
              <a:gd name="connsiteY5" fmla="*/ 863600 h 1198034"/>
              <a:gd name="connsiteX6" fmla="*/ 742950 w 3331634"/>
              <a:gd name="connsiteY6" fmla="*/ 385234 h 1198034"/>
              <a:gd name="connsiteX7" fmla="*/ 0 w 3331634"/>
              <a:gd name="connsiteY7" fmla="*/ 93134 h 1198034"/>
              <a:gd name="connsiteX8" fmla="*/ 8466 w 3331634"/>
              <a:gd name="connsiteY8" fmla="*/ 0 h 1198034"/>
              <a:gd name="connsiteX0" fmla="*/ 0 w 3332693"/>
              <a:gd name="connsiteY0" fmla="*/ 0 h 1269472"/>
              <a:gd name="connsiteX1" fmla="*/ 758031 w 3332693"/>
              <a:gd name="connsiteY1" fmla="*/ 347399 h 1269472"/>
              <a:gd name="connsiteX2" fmla="*/ 2044172 w 3332693"/>
              <a:gd name="connsiteY2" fmla="*/ 600870 h 1269472"/>
              <a:gd name="connsiteX3" fmla="*/ 3332693 w 3332693"/>
              <a:gd name="connsiteY3" fmla="*/ 744537 h 1269472"/>
              <a:gd name="connsiteX4" fmla="*/ 3324225 w 3332693"/>
              <a:gd name="connsiteY4" fmla="*/ 1269472 h 1269472"/>
              <a:gd name="connsiteX5" fmla="*/ 2024592 w 3332693"/>
              <a:gd name="connsiteY5" fmla="*/ 935038 h 1269472"/>
              <a:gd name="connsiteX6" fmla="*/ 744009 w 3332693"/>
              <a:gd name="connsiteY6" fmla="*/ 456672 h 1269472"/>
              <a:gd name="connsiteX7" fmla="*/ 1059 w 3332693"/>
              <a:gd name="connsiteY7" fmla="*/ 164572 h 1269472"/>
              <a:gd name="connsiteX8" fmla="*/ 0 w 3332693"/>
              <a:gd name="connsiteY8" fmla="*/ 0 h 1269472"/>
              <a:gd name="connsiteX0" fmla="*/ 1323 w 3334016"/>
              <a:gd name="connsiteY0" fmla="*/ 0 h 1269472"/>
              <a:gd name="connsiteX1" fmla="*/ 759354 w 3334016"/>
              <a:gd name="connsiteY1" fmla="*/ 347399 h 1269472"/>
              <a:gd name="connsiteX2" fmla="*/ 2045495 w 3334016"/>
              <a:gd name="connsiteY2" fmla="*/ 600870 h 1269472"/>
              <a:gd name="connsiteX3" fmla="*/ 3334016 w 3334016"/>
              <a:gd name="connsiteY3" fmla="*/ 744537 h 1269472"/>
              <a:gd name="connsiteX4" fmla="*/ 3325548 w 3334016"/>
              <a:gd name="connsiteY4" fmla="*/ 1269472 h 1269472"/>
              <a:gd name="connsiteX5" fmla="*/ 2025915 w 3334016"/>
              <a:gd name="connsiteY5" fmla="*/ 935038 h 1269472"/>
              <a:gd name="connsiteX6" fmla="*/ 745332 w 3334016"/>
              <a:gd name="connsiteY6" fmla="*/ 456672 h 1269472"/>
              <a:gd name="connsiteX7" fmla="*/ 0 w 3334016"/>
              <a:gd name="connsiteY7" fmla="*/ 107422 h 1269472"/>
              <a:gd name="connsiteX8" fmla="*/ 1323 w 3334016"/>
              <a:gd name="connsiteY8" fmla="*/ 0 h 1269472"/>
              <a:gd name="connsiteX0" fmla="*/ 1323 w 3334016"/>
              <a:gd name="connsiteY0" fmla="*/ 0 h 1269472"/>
              <a:gd name="connsiteX1" fmla="*/ 759354 w 3334016"/>
              <a:gd name="connsiteY1" fmla="*/ 347399 h 1269472"/>
              <a:gd name="connsiteX2" fmla="*/ 2045495 w 3334016"/>
              <a:gd name="connsiteY2" fmla="*/ 600870 h 1269472"/>
              <a:gd name="connsiteX3" fmla="*/ 3334016 w 3334016"/>
              <a:gd name="connsiteY3" fmla="*/ 744537 h 1269472"/>
              <a:gd name="connsiteX4" fmla="*/ 3325548 w 3334016"/>
              <a:gd name="connsiteY4" fmla="*/ 1269472 h 1269472"/>
              <a:gd name="connsiteX5" fmla="*/ 2025915 w 3334016"/>
              <a:gd name="connsiteY5" fmla="*/ 935038 h 1269472"/>
              <a:gd name="connsiteX6" fmla="*/ 742951 w 3334016"/>
              <a:gd name="connsiteY6" fmla="*/ 428097 h 1269472"/>
              <a:gd name="connsiteX7" fmla="*/ 0 w 3334016"/>
              <a:gd name="connsiteY7" fmla="*/ 107422 h 1269472"/>
              <a:gd name="connsiteX8" fmla="*/ 1323 w 3334016"/>
              <a:gd name="connsiteY8" fmla="*/ 0 h 1269472"/>
              <a:gd name="connsiteX0" fmla="*/ 1323 w 3334016"/>
              <a:gd name="connsiteY0" fmla="*/ 0 h 1269472"/>
              <a:gd name="connsiteX1" fmla="*/ 759354 w 3334016"/>
              <a:gd name="connsiteY1" fmla="*/ 347399 h 1269472"/>
              <a:gd name="connsiteX2" fmla="*/ 2045495 w 3334016"/>
              <a:gd name="connsiteY2" fmla="*/ 600870 h 1269472"/>
              <a:gd name="connsiteX3" fmla="*/ 3334016 w 3334016"/>
              <a:gd name="connsiteY3" fmla="*/ 744537 h 1269472"/>
              <a:gd name="connsiteX4" fmla="*/ 3325548 w 3334016"/>
              <a:gd name="connsiteY4" fmla="*/ 1269472 h 1269472"/>
              <a:gd name="connsiteX5" fmla="*/ 2033058 w 3334016"/>
              <a:gd name="connsiteY5" fmla="*/ 965995 h 1269472"/>
              <a:gd name="connsiteX6" fmla="*/ 742951 w 3334016"/>
              <a:gd name="connsiteY6" fmla="*/ 428097 h 1269472"/>
              <a:gd name="connsiteX7" fmla="*/ 0 w 3334016"/>
              <a:gd name="connsiteY7" fmla="*/ 107422 h 1269472"/>
              <a:gd name="connsiteX8" fmla="*/ 1323 w 3334016"/>
              <a:gd name="connsiteY8" fmla="*/ 0 h 1269472"/>
              <a:gd name="connsiteX0" fmla="*/ 1323 w 3334016"/>
              <a:gd name="connsiteY0" fmla="*/ 0 h 1252803"/>
              <a:gd name="connsiteX1" fmla="*/ 759354 w 3334016"/>
              <a:gd name="connsiteY1" fmla="*/ 347399 h 1252803"/>
              <a:gd name="connsiteX2" fmla="*/ 2045495 w 3334016"/>
              <a:gd name="connsiteY2" fmla="*/ 600870 h 1252803"/>
              <a:gd name="connsiteX3" fmla="*/ 3334016 w 3334016"/>
              <a:gd name="connsiteY3" fmla="*/ 744537 h 1252803"/>
              <a:gd name="connsiteX4" fmla="*/ 3318404 w 3334016"/>
              <a:gd name="connsiteY4" fmla="*/ 1252803 h 1252803"/>
              <a:gd name="connsiteX5" fmla="*/ 2033058 w 3334016"/>
              <a:gd name="connsiteY5" fmla="*/ 965995 h 1252803"/>
              <a:gd name="connsiteX6" fmla="*/ 742951 w 3334016"/>
              <a:gd name="connsiteY6" fmla="*/ 428097 h 1252803"/>
              <a:gd name="connsiteX7" fmla="*/ 0 w 3334016"/>
              <a:gd name="connsiteY7" fmla="*/ 107422 h 1252803"/>
              <a:gd name="connsiteX8" fmla="*/ 1323 w 3334016"/>
              <a:gd name="connsiteY8" fmla="*/ 0 h 1252803"/>
              <a:gd name="connsiteX0" fmla="*/ 1323 w 3334016"/>
              <a:gd name="connsiteY0" fmla="*/ 0 h 1252803"/>
              <a:gd name="connsiteX1" fmla="*/ 759354 w 3334016"/>
              <a:gd name="connsiteY1" fmla="*/ 347399 h 1252803"/>
              <a:gd name="connsiteX2" fmla="*/ 2052639 w 3334016"/>
              <a:gd name="connsiteY2" fmla="*/ 598489 h 1252803"/>
              <a:gd name="connsiteX3" fmla="*/ 3334016 w 3334016"/>
              <a:gd name="connsiteY3" fmla="*/ 744537 h 1252803"/>
              <a:gd name="connsiteX4" fmla="*/ 3318404 w 3334016"/>
              <a:gd name="connsiteY4" fmla="*/ 1252803 h 1252803"/>
              <a:gd name="connsiteX5" fmla="*/ 2033058 w 3334016"/>
              <a:gd name="connsiteY5" fmla="*/ 965995 h 1252803"/>
              <a:gd name="connsiteX6" fmla="*/ 742951 w 3334016"/>
              <a:gd name="connsiteY6" fmla="*/ 428097 h 1252803"/>
              <a:gd name="connsiteX7" fmla="*/ 0 w 3334016"/>
              <a:gd name="connsiteY7" fmla="*/ 107422 h 1252803"/>
              <a:gd name="connsiteX8" fmla="*/ 1323 w 3334016"/>
              <a:gd name="connsiteY8" fmla="*/ 0 h 1252803"/>
              <a:gd name="connsiteX0" fmla="*/ 1323 w 3334016"/>
              <a:gd name="connsiteY0" fmla="*/ 0 h 1252803"/>
              <a:gd name="connsiteX1" fmla="*/ 759354 w 3334016"/>
              <a:gd name="connsiteY1" fmla="*/ 347399 h 1252803"/>
              <a:gd name="connsiteX2" fmla="*/ 2052639 w 3334016"/>
              <a:gd name="connsiteY2" fmla="*/ 598489 h 1252803"/>
              <a:gd name="connsiteX3" fmla="*/ 3334016 w 3334016"/>
              <a:gd name="connsiteY3" fmla="*/ 744537 h 1252803"/>
              <a:gd name="connsiteX4" fmla="*/ 3325548 w 3334016"/>
              <a:gd name="connsiteY4" fmla="*/ 1252803 h 1252803"/>
              <a:gd name="connsiteX5" fmla="*/ 2033058 w 3334016"/>
              <a:gd name="connsiteY5" fmla="*/ 965995 h 1252803"/>
              <a:gd name="connsiteX6" fmla="*/ 742951 w 3334016"/>
              <a:gd name="connsiteY6" fmla="*/ 428097 h 1252803"/>
              <a:gd name="connsiteX7" fmla="*/ 0 w 3334016"/>
              <a:gd name="connsiteY7" fmla="*/ 107422 h 1252803"/>
              <a:gd name="connsiteX8" fmla="*/ 1323 w 3334016"/>
              <a:gd name="connsiteY8" fmla="*/ 0 h 1252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34016" h="1252803">
                <a:moveTo>
                  <a:pt x="1323" y="0"/>
                </a:moveTo>
                <a:lnTo>
                  <a:pt x="759354" y="347399"/>
                </a:lnTo>
                <a:lnTo>
                  <a:pt x="2052639" y="598489"/>
                </a:lnTo>
                <a:lnTo>
                  <a:pt x="3334016" y="744537"/>
                </a:lnTo>
                <a:lnTo>
                  <a:pt x="3325548" y="1252803"/>
                </a:lnTo>
                <a:lnTo>
                  <a:pt x="2033058" y="965995"/>
                </a:lnTo>
                <a:lnTo>
                  <a:pt x="742951" y="428097"/>
                </a:lnTo>
                <a:lnTo>
                  <a:pt x="0" y="107422"/>
                </a:lnTo>
                <a:lnTo>
                  <a:pt x="1323" y="0"/>
                </a:lnTo>
                <a:close/>
              </a:path>
            </a:pathLst>
          </a:custGeom>
          <a:solidFill>
            <a:schemeClr val="accent3">
              <a:alpha val="7098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3" name="Freeform 62"/>
          <p:cNvSpPr/>
          <p:nvPr/>
        </p:nvSpPr>
        <p:spPr>
          <a:xfrm>
            <a:off x="5151438" y="3609975"/>
            <a:ext cx="3331634" cy="728462"/>
          </a:xfrm>
          <a:custGeom>
            <a:avLst/>
            <a:gdLst>
              <a:gd name="connsiteX0" fmla="*/ 0 w 3331634"/>
              <a:gd name="connsiteY0" fmla="*/ 795867 h 795867"/>
              <a:gd name="connsiteX1" fmla="*/ 795867 w 3331634"/>
              <a:gd name="connsiteY1" fmla="*/ 651934 h 795867"/>
              <a:gd name="connsiteX2" fmla="*/ 2087034 w 3331634"/>
              <a:gd name="connsiteY2" fmla="*/ 359834 h 795867"/>
              <a:gd name="connsiteX3" fmla="*/ 3331634 w 3331634"/>
              <a:gd name="connsiteY3" fmla="*/ 0 h 795867"/>
              <a:gd name="connsiteX4" fmla="*/ 3327400 w 3331634"/>
              <a:gd name="connsiteY4" fmla="*/ 541867 h 795867"/>
              <a:gd name="connsiteX5" fmla="*/ 766234 w 3331634"/>
              <a:gd name="connsiteY5" fmla="*/ 749300 h 795867"/>
              <a:gd name="connsiteX6" fmla="*/ 0 w 3331634"/>
              <a:gd name="connsiteY6" fmla="*/ 795867 h 795867"/>
              <a:gd name="connsiteX0" fmla="*/ 0 w 3331634"/>
              <a:gd name="connsiteY0" fmla="*/ 795867 h 795867"/>
              <a:gd name="connsiteX1" fmla="*/ 795867 w 3331634"/>
              <a:gd name="connsiteY1" fmla="*/ 651934 h 795867"/>
              <a:gd name="connsiteX2" fmla="*/ 2082801 w 3331634"/>
              <a:gd name="connsiteY2" fmla="*/ 357717 h 795867"/>
              <a:gd name="connsiteX3" fmla="*/ 3331634 w 3331634"/>
              <a:gd name="connsiteY3" fmla="*/ 0 h 795867"/>
              <a:gd name="connsiteX4" fmla="*/ 3327400 w 3331634"/>
              <a:gd name="connsiteY4" fmla="*/ 541867 h 795867"/>
              <a:gd name="connsiteX5" fmla="*/ 766234 w 3331634"/>
              <a:gd name="connsiteY5" fmla="*/ 749300 h 795867"/>
              <a:gd name="connsiteX6" fmla="*/ 0 w 3331634"/>
              <a:gd name="connsiteY6" fmla="*/ 795867 h 795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31634" h="795867">
                <a:moveTo>
                  <a:pt x="0" y="795867"/>
                </a:moveTo>
                <a:lnTo>
                  <a:pt x="795867" y="651934"/>
                </a:lnTo>
                <a:lnTo>
                  <a:pt x="2082801" y="357717"/>
                </a:lnTo>
                <a:lnTo>
                  <a:pt x="3331634" y="0"/>
                </a:lnTo>
                <a:cubicBezTo>
                  <a:pt x="3330223" y="180622"/>
                  <a:pt x="3328811" y="361245"/>
                  <a:pt x="3327400" y="541867"/>
                </a:cubicBezTo>
                <a:lnTo>
                  <a:pt x="766234" y="749300"/>
                </a:lnTo>
                <a:lnTo>
                  <a:pt x="0" y="795867"/>
                </a:lnTo>
                <a:close/>
              </a:path>
            </a:pathLst>
          </a:custGeom>
          <a:solidFill>
            <a:srgbClr val="0065BD">
              <a:alpha val="7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4" name="Freeform 63"/>
          <p:cNvSpPr/>
          <p:nvPr/>
        </p:nvSpPr>
        <p:spPr>
          <a:xfrm>
            <a:off x="5157788" y="4092575"/>
            <a:ext cx="3320785" cy="578495"/>
          </a:xfrm>
          <a:custGeom>
            <a:avLst/>
            <a:gdLst>
              <a:gd name="connsiteX0" fmla="*/ 0 w 3323166"/>
              <a:gd name="connsiteY0" fmla="*/ 0 h 575733"/>
              <a:gd name="connsiteX1" fmla="*/ 787400 w 3323166"/>
              <a:gd name="connsiteY1" fmla="*/ 173566 h 575733"/>
              <a:gd name="connsiteX2" fmla="*/ 2078566 w 3323166"/>
              <a:gd name="connsiteY2" fmla="*/ 292100 h 575733"/>
              <a:gd name="connsiteX3" fmla="*/ 3323166 w 3323166"/>
              <a:gd name="connsiteY3" fmla="*/ 364066 h 575733"/>
              <a:gd name="connsiteX4" fmla="*/ 3323166 w 3323166"/>
              <a:gd name="connsiteY4" fmla="*/ 575733 h 575733"/>
              <a:gd name="connsiteX5" fmla="*/ 2040466 w 3323166"/>
              <a:gd name="connsiteY5" fmla="*/ 448733 h 575733"/>
              <a:gd name="connsiteX6" fmla="*/ 745066 w 3323166"/>
              <a:gd name="connsiteY6" fmla="*/ 186266 h 575733"/>
              <a:gd name="connsiteX7" fmla="*/ 0 w 3323166"/>
              <a:gd name="connsiteY7" fmla="*/ 0 h 575733"/>
              <a:gd name="connsiteX0" fmla="*/ 0 w 3323166"/>
              <a:gd name="connsiteY0" fmla="*/ 0 h 575733"/>
              <a:gd name="connsiteX1" fmla="*/ 787400 w 3323166"/>
              <a:gd name="connsiteY1" fmla="*/ 173566 h 575733"/>
              <a:gd name="connsiteX2" fmla="*/ 2078566 w 3323166"/>
              <a:gd name="connsiteY2" fmla="*/ 292100 h 575733"/>
              <a:gd name="connsiteX3" fmla="*/ 3323166 w 3323166"/>
              <a:gd name="connsiteY3" fmla="*/ 364066 h 575733"/>
              <a:gd name="connsiteX4" fmla="*/ 3323166 w 3323166"/>
              <a:gd name="connsiteY4" fmla="*/ 575733 h 575733"/>
              <a:gd name="connsiteX5" fmla="*/ 2040466 w 3323166"/>
              <a:gd name="connsiteY5" fmla="*/ 448733 h 575733"/>
              <a:gd name="connsiteX6" fmla="*/ 745066 w 3323166"/>
              <a:gd name="connsiteY6" fmla="*/ 186266 h 575733"/>
              <a:gd name="connsiteX7" fmla="*/ 0 w 3323166"/>
              <a:gd name="connsiteY7" fmla="*/ 38100 h 575733"/>
              <a:gd name="connsiteX8" fmla="*/ 0 w 3323166"/>
              <a:gd name="connsiteY8" fmla="*/ 0 h 575733"/>
              <a:gd name="connsiteX0" fmla="*/ 0 w 3323166"/>
              <a:gd name="connsiteY0" fmla="*/ 0 h 575733"/>
              <a:gd name="connsiteX1" fmla="*/ 783167 w 3323166"/>
              <a:gd name="connsiteY1" fmla="*/ 169332 h 575733"/>
              <a:gd name="connsiteX2" fmla="*/ 2078566 w 3323166"/>
              <a:gd name="connsiteY2" fmla="*/ 292100 h 575733"/>
              <a:gd name="connsiteX3" fmla="*/ 3323166 w 3323166"/>
              <a:gd name="connsiteY3" fmla="*/ 364066 h 575733"/>
              <a:gd name="connsiteX4" fmla="*/ 3323166 w 3323166"/>
              <a:gd name="connsiteY4" fmla="*/ 575733 h 575733"/>
              <a:gd name="connsiteX5" fmla="*/ 2040466 w 3323166"/>
              <a:gd name="connsiteY5" fmla="*/ 448733 h 575733"/>
              <a:gd name="connsiteX6" fmla="*/ 745066 w 3323166"/>
              <a:gd name="connsiteY6" fmla="*/ 186266 h 575733"/>
              <a:gd name="connsiteX7" fmla="*/ 0 w 3323166"/>
              <a:gd name="connsiteY7" fmla="*/ 38100 h 575733"/>
              <a:gd name="connsiteX8" fmla="*/ 0 w 3323166"/>
              <a:gd name="connsiteY8" fmla="*/ 0 h 575733"/>
              <a:gd name="connsiteX0" fmla="*/ 0 w 3323166"/>
              <a:gd name="connsiteY0" fmla="*/ 0 h 590021"/>
              <a:gd name="connsiteX1" fmla="*/ 783167 w 3323166"/>
              <a:gd name="connsiteY1" fmla="*/ 169332 h 590021"/>
              <a:gd name="connsiteX2" fmla="*/ 2078566 w 3323166"/>
              <a:gd name="connsiteY2" fmla="*/ 292100 h 590021"/>
              <a:gd name="connsiteX3" fmla="*/ 3323166 w 3323166"/>
              <a:gd name="connsiteY3" fmla="*/ 364066 h 590021"/>
              <a:gd name="connsiteX4" fmla="*/ 3323166 w 3323166"/>
              <a:gd name="connsiteY4" fmla="*/ 590021 h 590021"/>
              <a:gd name="connsiteX5" fmla="*/ 2040466 w 3323166"/>
              <a:gd name="connsiteY5" fmla="*/ 448733 h 590021"/>
              <a:gd name="connsiteX6" fmla="*/ 745066 w 3323166"/>
              <a:gd name="connsiteY6" fmla="*/ 186266 h 590021"/>
              <a:gd name="connsiteX7" fmla="*/ 0 w 3323166"/>
              <a:gd name="connsiteY7" fmla="*/ 38100 h 590021"/>
              <a:gd name="connsiteX8" fmla="*/ 0 w 3323166"/>
              <a:gd name="connsiteY8" fmla="*/ 0 h 590021"/>
              <a:gd name="connsiteX0" fmla="*/ 0 w 3323166"/>
              <a:gd name="connsiteY0" fmla="*/ 0 h 590021"/>
              <a:gd name="connsiteX1" fmla="*/ 783167 w 3323166"/>
              <a:gd name="connsiteY1" fmla="*/ 169332 h 590021"/>
              <a:gd name="connsiteX2" fmla="*/ 2059516 w 3323166"/>
              <a:gd name="connsiteY2" fmla="*/ 275432 h 590021"/>
              <a:gd name="connsiteX3" fmla="*/ 3323166 w 3323166"/>
              <a:gd name="connsiteY3" fmla="*/ 364066 h 590021"/>
              <a:gd name="connsiteX4" fmla="*/ 3323166 w 3323166"/>
              <a:gd name="connsiteY4" fmla="*/ 590021 h 590021"/>
              <a:gd name="connsiteX5" fmla="*/ 2040466 w 3323166"/>
              <a:gd name="connsiteY5" fmla="*/ 448733 h 590021"/>
              <a:gd name="connsiteX6" fmla="*/ 745066 w 3323166"/>
              <a:gd name="connsiteY6" fmla="*/ 186266 h 590021"/>
              <a:gd name="connsiteX7" fmla="*/ 0 w 3323166"/>
              <a:gd name="connsiteY7" fmla="*/ 38100 h 590021"/>
              <a:gd name="connsiteX8" fmla="*/ 0 w 3323166"/>
              <a:gd name="connsiteY8" fmla="*/ 0 h 590021"/>
              <a:gd name="connsiteX0" fmla="*/ 0 w 3323166"/>
              <a:gd name="connsiteY0" fmla="*/ 0 h 590021"/>
              <a:gd name="connsiteX1" fmla="*/ 778405 w 3323166"/>
              <a:gd name="connsiteY1" fmla="*/ 145520 h 590021"/>
              <a:gd name="connsiteX2" fmla="*/ 2059516 w 3323166"/>
              <a:gd name="connsiteY2" fmla="*/ 275432 h 590021"/>
              <a:gd name="connsiteX3" fmla="*/ 3323166 w 3323166"/>
              <a:gd name="connsiteY3" fmla="*/ 364066 h 590021"/>
              <a:gd name="connsiteX4" fmla="*/ 3323166 w 3323166"/>
              <a:gd name="connsiteY4" fmla="*/ 590021 h 590021"/>
              <a:gd name="connsiteX5" fmla="*/ 2040466 w 3323166"/>
              <a:gd name="connsiteY5" fmla="*/ 448733 h 590021"/>
              <a:gd name="connsiteX6" fmla="*/ 745066 w 3323166"/>
              <a:gd name="connsiteY6" fmla="*/ 186266 h 590021"/>
              <a:gd name="connsiteX7" fmla="*/ 0 w 3323166"/>
              <a:gd name="connsiteY7" fmla="*/ 38100 h 590021"/>
              <a:gd name="connsiteX8" fmla="*/ 0 w 3323166"/>
              <a:gd name="connsiteY8" fmla="*/ 0 h 590021"/>
              <a:gd name="connsiteX0" fmla="*/ 0 w 3323166"/>
              <a:gd name="connsiteY0" fmla="*/ 0 h 590021"/>
              <a:gd name="connsiteX1" fmla="*/ 778405 w 3323166"/>
              <a:gd name="connsiteY1" fmla="*/ 145520 h 590021"/>
              <a:gd name="connsiteX2" fmla="*/ 2059516 w 3323166"/>
              <a:gd name="connsiteY2" fmla="*/ 275432 h 590021"/>
              <a:gd name="connsiteX3" fmla="*/ 3323166 w 3323166"/>
              <a:gd name="connsiteY3" fmla="*/ 364066 h 590021"/>
              <a:gd name="connsiteX4" fmla="*/ 3323166 w 3323166"/>
              <a:gd name="connsiteY4" fmla="*/ 590021 h 590021"/>
              <a:gd name="connsiteX5" fmla="*/ 2040466 w 3323166"/>
              <a:gd name="connsiteY5" fmla="*/ 448733 h 590021"/>
              <a:gd name="connsiteX6" fmla="*/ 759353 w 3323166"/>
              <a:gd name="connsiteY6" fmla="*/ 183885 h 590021"/>
              <a:gd name="connsiteX7" fmla="*/ 0 w 3323166"/>
              <a:gd name="connsiteY7" fmla="*/ 38100 h 590021"/>
              <a:gd name="connsiteX8" fmla="*/ 0 w 3323166"/>
              <a:gd name="connsiteY8" fmla="*/ 0 h 590021"/>
              <a:gd name="connsiteX0" fmla="*/ 7144 w 3323166"/>
              <a:gd name="connsiteY0" fmla="*/ 0 h 632884"/>
              <a:gd name="connsiteX1" fmla="*/ 778405 w 3323166"/>
              <a:gd name="connsiteY1" fmla="*/ 188383 h 632884"/>
              <a:gd name="connsiteX2" fmla="*/ 2059516 w 3323166"/>
              <a:gd name="connsiteY2" fmla="*/ 318295 h 632884"/>
              <a:gd name="connsiteX3" fmla="*/ 3323166 w 3323166"/>
              <a:gd name="connsiteY3" fmla="*/ 406929 h 632884"/>
              <a:gd name="connsiteX4" fmla="*/ 3323166 w 3323166"/>
              <a:gd name="connsiteY4" fmla="*/ 632884 h 632884"/>
              <a:gd name="connsiteX5" fmla="*/ 2040466 w 3323166"/>
              <a:gd name="connsiteY5" fmla="*/ 491596 h 632884"/>
              <a:gd name="connsiteX6" fmla="*/ 759353 w 3323166"/>
              <a:gd name="connsiteY6" fmla="*/ 226748 h 632884"/>
              <a:gd name="connsiteX7" fmla="*/ 0 w 3323166"/>
              <a:gd name="connsiteY7" fmla="*/ 80963 h 632884"/>
              <a:gd name="connsiteX8" fmla="*/ 7144 w 3323166"/>
              <a:gd name="connsiteY8" fmla="*/ 0 h 632884"/>
              <a:gd name="connsiteX0" fmla="*/ 4763 w 3320785"/>
              <a:gd name="connsiteY0" fmla="*/ 0 h 632884"/>
              <a:gd name="connsiteX1" fmla="*/ 776024 w 3320785"/>
              <a:gd name="connsiteY1" fmla="*/ 188383 h 632884"/>
              <a:gd name="connsiteX2" fmla="*/ 2057135 w 3320785"/>
              <a:gd name="connsiteY2" fmla="*/ 318295 h 632884"/>
              <a:gd name="connsiteX3" fmla="*/ 3320785 w 3320785"/>
              <a:gd name="connsiteY3" fmla="*/ 406929 h 632884"/>
              <a:gd name="connsiteX4" fmla="*/ 3320785 w 3320785"/>
              <a:gd name="connsiteY4" fmla="*/ 632884 h 632884"/>
              <a:gd name="connsiteX5" fmla="*/ 2038085 w 3320785"/>
              <a:gd name="connsiteY5" fmla="*/ 491596 h 632884"/>
              <a:gd name="connsiteX6" fmla="*/ 756972 w 3320785"/>
              <a:gd name="connsiteY6" fmla="*/ 226748 h 632884"/>
              <a:gd name="connsiteX7" fmla="*/ 0 w 3320785"/>
              <a:gd name="connsiteY7" fmla="*/ 42863 h 632884"/>
              <a:gd name="connsiteX8" fmla="*/ 4763 w 3320785"/>
              <a:gd name="connsiteY8" fmla="*/ 0 h 632884"/>
              <a:gd name="connsiteX0" fmla="*/ 2382 w 3320785"/>
              <a:gd name="connsiteY0" fmla="*/ 0 h 630503"/>
              <a:gd name="connsiteX1" fmla="*/ 776024 w 3320785"/>
              <a:gd name="connsiteY1" fmla="*/ 186002 h 630503"/>
              <a:gd name="connsiteX2" fmla="*/ 2057135 w 3320785"/>
              <a:gd name="connsiteY2" fmla="*/ 315914 h 630503"/>
              <a:gd name="connsiteX3" fmla="*/ 3320785 w 3320785"/>
              <a:gd name="connsiteY3" fmla="*/ 404548 h 630503"/>
              <a:gd name="connsiteX4" fmla="*/ 3320785 w 3320785"/>
              <a:gd name="connsiteY4" fmla="*/ 630503 h 630503"/>
              <a:gd name="connsiteX5" fmla="*/ 2038085 w 3320785"/>
              <a:gd name="connsiteY5" fmla="*/ 489215 h 630503"/>
              <a:gd name="connsiteX6" fmla="*/ 756972 w 3320785"/>
              <a:gd name="connsiteY6" fmla="*/ 224367 h 630503"/>
              <a:gd name="connsiteX7" fmla="*/ 0 w 3320785"/>
              <a:gd name="connsiteY7" fmla="*/ 40482 h 630503"/>
              <a:gd name="connsiteX8" fmla="*/ 2382 w 3320785"/>
              <a:gd name="connsiteY8" fmla="*/ 0 h 630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20785" h="630503">
                <a:moveTo>
                  <a:pt x="2382" y="0"/>
                </a:moveTo>
                <a:lnTo>
                  <a:pt x="776024" y="186002"/>
                </a:lnTo>
                <a:lnTo>
                  <a:pt x="2057135" y="315914"/>
                </a:lnTo>
                <a:lnTo>
                  <a:pt x="3320785" y="404548"/>
                </a:lnTo>
                <a:lnTo>
                  <a:pt x="3320785" y="630503"/>
                </a:lnTo>
                <a:lnTo>
                  <a:pt x="2038085" y="489215"/>
                </a:lnTo>
                <a:lnTo>
                  <a:pt x="756972" y="224367"/>
                </a:lnTo>
                <a:cubicBezTo>
                  <a:pt x="607394" y="186267"/>
                  <a:pt x="149578" y="78582"/>
                  <a:pt x="0" y="40482"/>
                </a:cubicBezTo>
                <a:lnTo>
                  <a:pt x="2382" y="0"/>
                </a:lnTo>
                <a:close/>
              </a:path>
            </a:pathLst>
          </a:custGeom>
          <a:solidFill>
            <a:schemeClr val="accent3">
              <a:alpha val="7098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9278938" y="904875"/>
            <a:ext cx="274320" cy="274320"/>
          </a:xfrm>
          <a:prstGeom prst="rect">
            <a:avLst/>
          </a:prstGeom>
          <a:solidFill>
            <a:schemeClr val="accent3">
              <a:alpha val="7098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9288463" y="1285875"/>
            <a:ext cx="274320" cy="274320"/>
          </a:xfrm>
          <a:prstGeom prst="rect">
            <a:avLst/>
          </a:prstGeom>
          <a:solidFill>
            <a:srgbClr val="0065BD">
              <a:alpha val="7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9" name="4. Footnote"/>
          <p:cNvSpPr txBox="1">
            <a:spLocks noChangeArrowheads="1"/>
          </p:cNvSpPr>
          <p:nvPr/>
        </p:nvSpPr>
        <p:spPr bwMode="gray">
          <a:xfrm>
            <a:off x="475489" y="6212518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64294" indent="-64294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CA" dirty="0"/>
              <a:t>1 Grid-defection-economics estimates are based on Arizona </a:t>
            </a:r>
            <a:r>
              <a:rPr lang="en-CA"/>
              <a:t>residential customer. Full grid defection includes diesel generator backup.</a:t>
            </a:r>
            <a:endParaRPr lang="x-none" dirty="0"/>
          </a:p>
        </p:txBody>
      </p:sp>
      <p:sp>
        <p:nvSpPr>
          <p:cNvPr id="70" name="TextBox 69"/>
          <p:cNvSpPr txBox="1"/>
          <p:nvPr/>
        </p:nvSpPr>
        <p:spPr>
          <a:xfrm>
            <a:off x="9199423" y="1974069"/>
            <a:ext cx="2488173" cy="3897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CA" sz="1400"/>
              <a:t>Partial grid defection (generating ~90% of own electricity using solar +storage) is </a:t>
            </a:r>
            <a:r>
              <a:rPr lang="en-CA" sz="1400" b="1"/>
              <a:t>already beginning to play out in sunny areas with high electricity costs </a:t>
            </a:r>
            <a:r>
              <a:rPr lang="en-CA" sz="1400"/>
              <a:t>(e.g. Australia, Hawaii)</a:t>
            </a:r>
          </a:p>
          <a:p>
            <a:pPr lvl="1">
              <a:spcBef>
                <a:spcPct val="50000"/>
              </a:spcBef>
            </a:pPr>
            <a:r>
              <a:rPr lang="en-CA" sz="1400"/>
              <a:t>Full grid defection (completely disconnecting from the centralized electric-power system) not economical today, but at current rates of cost declines, it will </a:t>
            </a:r>
            <a:r>
              <a:rPr lang="en-CA" sz="1400" b="1"/>
              <a:t>make sense sooner than many utilities expect</a:t>
            </a:r>
            <a:endParaRPr lang="en-CA" sz="1400" b="1" dirty="0"/>
          </a:p>
        </p:txBody>
      </p:sp>
    </p:spTree>
    <p:extLst>
      <p:ext uri="{BB962C8B-B14F-4D97-AF65-F5344CB8AC3E}">
        <p14:creationId xmlns:p14="http://schemas.microsoft.com/office/powerpoint/2010/main" val="303305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5359" y="84149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615359" y="841490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0969498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Liquids demand grows through 2037, driven by chemicals and aviation</a:t>
            </a:r>
          </a:p>
        </p:txBody>
      </p:sp>
      <p:sp>
        <p:nvSpPr>
          <p:cNvPr id="318" name="3. Unit of measur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5489" y="675333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2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Primary liquids demand; Million barrels/day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086712" y="718706"/>
            <a:ext cx="4563938" cy="346570"/>
            <a:chOff x="4438164" y="716248"/>
            <a:chExt cx="4299436" cy="333047"/>
          </a:xfrm>
        </p:grpSpPr>
        <p:sp>
          <p:nvSpPr>
            <p:cNvPr id="268" name="LegendRectangle3"/>
            <p:cNvSpPr>
              <a:spLocks noChangeArrowheads="1"/>
            </p:cNvSpPr>
            <p:nvPr/>
          </p:nvSpPr>
          <p:spPr bwMode="gray">
            <a:xfrm>
              <a:off x="7594969" y="910796"/>
              <a:ext cx="138499" cy="13849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900" b="1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69" name="Legend3"/>
            <p:cNvSpPr>
              <a:spLocks noChangeArrowheads="1"/>
            </p:cNvSpPr>
            <p:nvPr/>
          </p:nvSpPr>
          <p:spPr bwMode="gray">
            <a:xfrm>
              <a:off x="7775798" y="910796"/>
              <a:ext cx="66364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Δ&lt; -0.1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</a:t>
              </a:r>
            </a:p>
          </p:txBody>
        </p:sp>
        <p:sp>
          <p:nvSpPr>
            <p:cNvPr id="271" name="Legend1"/>
            <p:cNvSpPr>
              <a:spLocks noChangeArrowheads="1"/>
            </p:cNvSpPr>
            <p:nvPr/>
          </p:nvSpPr>
          <p:spPr bwMode="gray">
            <a:xfrm>
              <a:off x="5417688" y="716248"/>
              <a:ext cx="561051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Δ &gt; 1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</a:t>
              </a:r>
            </a:p>
          </p:txBody>
        </p:sp>
        <p:sp>
          <p:nvSpPr>
            <p:cNvPr id="272" name="LegendRectangle1"/>
            <p:cNvSpPr>
              <a:spLocks noChangeArrowheads="1"/>
            </p:cNvSpPr>
            <p:nvPr/>
          </p:nvSpPr>
          <p:spPr bwMode="gray">
            <a:xfrm>
              <a:off x="5219361" y="716248"/>
              <a:ext cx="138499" cy="138499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xtLst/>
          </p:spPr>
          <p:txBody>
            <a:bodyPr lIns="0" tIns="0" rIns="0" bIns="0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9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74" name="LegendRectangle3"/>
            <p:cNvSpPr>
              <a:spLocks noChangeArrowheads="1"/>
            </p:cNvSpPr>
            <p:nvPr/>
          </p:nvSpPr>
          <p:spPr bwMode="gray">
            <a:xfrm>
              <a:off x="7594969" y="716248"/>
              <a:ext cx="138499" cy="138499"/>
            </a:xfrm>
            <a:prstGeom prst="rect">
              <a:avLst/>
            </a:prstGeom>
            <a:solidFill>
              <a:srgbClr val="F7A797"/>
            </a:solidFill>
            <a:ln>
              <a:noFill/>
            </a:ln>
            <a:extLst/>
          </p:spPr>
          <p:txBody>
            <a:bodyPr lIns="0" tIns="0" rIns="0" bIns="0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900" b="1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75" name="Legend3"/>
            <p:cNvSpPr>
              <a:spLocks noChangeArrowheads="1"/>
            </p:cNvSpPr>
            <p:nvPr/>
          </p:nvSpPr>
          <p:spPr bwMode="gray">
            <a:xfrm>
              <a:off x="7775798" y="716248"/>
              <a:ext cx="961802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Δ-0.05 - -0.1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 </a:t>
              </a:r>
            </a:p>
          </p:txBody>
        </p:sp>
        <p:sp>
          <p:nvSpPr>
            <p:cNvPr id="291" name="LegendRectangle1"/>
            <p:cNvSpPr>
              <a:spLocks noChangeArrowheads="1"/>
            </p:cNvSpPr>
            <p:nvPr/>
          </p:nvSpPr>
          <p:spPr bwMode="gray">
            <a:xfrm>
              <a:off x="5219361" y="910796"/>
              <a:ext cx="138499" cy="138499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  <a:extLst/>
          </p:spPr>
          <p:txBody>
            <a:bodyPr lIns="0" tIns="0" rIns="0" bIns="0">
              <a:no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buClrTx/>
              </a:pPr>
              <a:endParaRPr lang="en-US" sz="9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292" name="Legend1"/>
            <p:cNvSpPr>
              <a:spLocks noChangeArrowheads="1"/>
            </p:cNvSpPr>
            <p:nvPr/>
          </p:nvSpPr>
          <p:spPr bwMode="gray">
            <a:xfrm>
              <a:off x="5417689" y="910796"/>
              <a:ext cx="72455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Δ 0.5 - 1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</a:t>
              </a:r>
            </a:p>
          </p:txBody>
        </p:sp>
        <p:grpSp>
          <p:nvGrpSpPr>
            <p:cNvPr id="296" name="Group 295"/>
            <p:cNvGrpSpPr/>
            <p:nvPr/>
          </p:nvGrpSpPr>
          <p:grpSpPr>
            <a:xfrm>
              <a:off x="4438164" y="725175"/>
              <a:ext cx="704338" cy="319101"/>
              <a:chOff x="5238750" y="923858"/>
              <a:chExt cx="704338" cy="229660"/>
            </a:xfrm>
          </p:grpSpPr>
          <p:sp>
            <p:nvSpPr>
              <p:cNvPr id="297" name="Isosceles Triangle 1131"/>
              <p:cNvSpPr>
                <a:spLocks noChangeArrowheads="1"/>
              </p:cNvSpPr>
              <p:nvPr/>
            </p:nvSpPr>
            <p:spPr bwMode="gray">
              <a:xfrm flipH="1">
                <a:off x="5238750" y="923858"/>
                <a:ext cx="704338" cy="229660"/>
              </a:xfrm>
              <a:prstGeom prst="rect">
                <a:avLst/>
              </a:prstGeom>
              <a:solidFill>
                <a:schemeClr val="accent1"/>
              </a:solidFill>
              <a:ln w="19050" algn="ctr">
                <a:solidFill>
                  <a:schemeClr val="bg1"/>
                </a:solidFill>
                <a:miter lim="800000"/>
                <a:headEnd/>
                <a:tailEnd/>
              </a:ln>
              <a:extLst/>
            </p:spPr>
            <p:txBody>
              <a:bodyPr wrap="none" lIns="0" tIns="0" rIns="0" bIns="0" anchor="ctr"/>
              <a:lstStyle/>
              <a:p>
                <a:pPr marL="257175" indent="-257175" defTabSz="671513"/>
                <a:endParaRPr lang="en-US" sz="900" b="1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298" name="Rectangle 10"/>
              <p:cNvSpPr txBox="1">
                <a:spLocks noChangeArrowheads="1"/>
              </p:cNvSpPr>
              <p:nvPr/>
            </p:nvSpPr>
            <p:spPr bwMode="gray">
              <a:xfrm>
                <a:off x="5659703" y="1031228"/>
                <a:ext cx="256480" cy="95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defTabSz="877888" eaLnBrk="1" hangingPunct="1">
                  <a:buClr>
                    <a:srgbClr val="234243"/>
                  </a:buClr>
                  <a:defRPr sz="800" b="1">
                    <a:solidFill>
                      <a:srgbClr val="48888A"/>
                    </a:solidFill>
                    <a:latin typeface="Calibri" panose="020F0502020204030204" pitchFamily="34" charset="0"/>
                    <a:ea typeface="SimSun" pitchFamily="2" charset="-122"/>
                    <a:cs typeface="Arial" charset="0"/>
                  </a:defRPr>
                </a:lvl1pPr>
                <a:lvl2pPr marL="728663" indent="-280988" defTabSz="877888" eaLnBrk="0" hangingPunct="0"/>
                <a:lvl3pPr marL="1120775" indent="-225425" defTabSz="877888" eaLnBrk="0" hangingPunct="0"/>
                <a:lvl4pPr marL="1568450" indent="-223838" defTabSz="877888" eaLnBrk="0" hangingPunct="0"/>
                <a:lvl5pPr marL="2016125" indent="-223838" defTabSz="877888" eaLnBrk="0" hangingPunct="0"/>
                <a:lvl6pPr marL="24733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6pPr>
                <a:lvl7pPr marL="29305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7pPr>
                <a:lvl8pPr marL="33877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8pPr>
                <a:lvl9pPr marL="38449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9pPr>
              </a:lstStyle>
              <a:p>
                <a:r>
                  <a:rPr lang="en-US" sz="900" dirty="0">
                    <a:solidFill>
                      <a:schemeClr val="bg1"/>
                    </a:solidFill>
                    <a:latin typeface="+mn-lt"/>
                  </a:rPr>
                  <a:t>2035</a:t>
                </a:r>
              </a:p>
            </p:txBody>
          </p:sp>
          <p:sp>
            <p:nvSpPr>
              <p:cNvPr id="299" name="Rectangle 10"/>
              <p:cNvSpPr txBox="1">
                <a:spLocks noChangeArrowheads="1"/>
              </p:cNvSpPr>
              <p:nvPr/>
            </p:nvSpPr>
            <p:spPr bwMode="gray">
              <a:xfrm>
                <a:off x="5264033" y="933074"/>
                <a:ext cx="256480" cy="957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defTabSz="877888" eaLnBrk="1" hangingPunct="1">
                  <a:buClr>
                    <a:srgbClr val="234243"/>
                  </a:buClr>
                  <a:defRPr sz="800" b="1">
                    <a:solidFill>
                      <a:srgbClr val="48888A"/>
                    </a:solidFill>
                    <a:latin typeface="Calibri" panose="020F0502020204030204" pitchFamily="34" charset="0"/>
                    <a:ea typeface="SimSun" pitchFamily="2" charset="-122"/>
                    <a:cs typeface="Arial" charset="0"/>
                  </a:defRPr>
                </a:lvl1pPr>
                <a:lvl2pPr marL="728663" indent="-280988" defTabSz="877888" eaLnBrk="0" hangingPunct="0"/>
                <a:lvl3pPr marL="1120775" indent="-225425" defTabSz="877888" eaLnBrk="0" hangingPunct="0"/>
                <a:lvl4pPr marL="1568450" indent="-223838" defTabSz="877888" eaLnBrk="0" hangingPunct="0"/>
                <a:lvl5pPr marL="2016125" indent="-223838" defTabSz="877888" eaLnBrk="0" hangingPunct="0"/>
                <a:lvl6pPr marL="24733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6pPr>
                <a:lvl7pPr marL="29305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7pPr>
                <a:lvl8pPr marL="33877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8pPr>
                <a:lvl9pPr marL="3844925" indent="-223838" defTabSz="877888" eaLnBrk="0" fontAlgn="base" hangingPunct="0">
                  <a:spcBef>
                    <a:spcPct val="0"/>
                  </a:spcBef>
                  <a:spcAft>
                    <a:spcPct val="0"/>
                  </a:spcAft>
                </a:lvl9pPr>
              </a:lstStyle>
              <a:p>
                <a:r>
                  <a:rPr lang="en-US" sz="900" dirty="0">
                    <a:solidFill>
                      <a:schemeClr val="bg1"/>
                    </a:solidFill>
                    <a:latin typeface="+mn-lt"/>
                  </a:rPr>
                  <a:t>2016</a:t>
                </a:r>
              </a:p>
            </p:txBody>
          </p:sp>
        </p:grpSp>
        <p:cxnSp>
          <p:nvCxnSpPr>
            <p:cNvPr id="300" name="Straight Connector 299"/>
            <p:cNvCxnSpPr>
              <a:cxnSpLocks/>
            </p:cNvCxnSpPr>
            <p:nvPr/>
          </p:nvCxnSpPr>
          <p:spPr>
            <a:xfrm flipV="1">
              <a:off x="4445509" y="729630"/>
              <a:ext cx="704338" cy="229661"/>
            </a:xfrm>
            <a:prstGeom prst="line">
              <a:avLst/>
            </a:prstGeom>
            <a:solidFill>
              <a:schemeClr val="accent1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</p:spPr>
        </p:cxnSp>
        <p:sp>
          <p:nvSpPr>
            <p:cNvPr id="294" name="LegendRectangle1"/>
            <p:cNvSpPr>
              <a:spLocks noChangeArrowheads="1"/>
            </p:cNvSpPr>
            <p:nvPr/>
          </p:nvSpPr>
          <p:spPr bwMode="gray">
            <a:xfrm>
              <a:off x="6290978" y="716248"/>
              <a:ext cx="138499" cy="138499"/>
            </a:xfrm>
            <a:prstGeom prst="rect">
              <a:avLst/>
            </a:prstGeom>
            <a:solidFill>
              <a:srgbClr val="CCFFCC"/>
            </a:solidFill>
            <a:ln>
              <a:solidFill>
                <a:schemeClr val="bg1"/>
              </a:solidFill>
            </a:ln>
            <a:extLst/>
          </p:spPr>
          <p:txBody>
            <a:bodyPr wrap="none" lIns="0" tIns="0" rIns="0" bIns="0" anchor="ctr"/>
            <a:lstStyle/>
            <a:p>
              <a:pPr marL="342900" indent="-342900" defTabSz="895350"/>
              <a:endParaRPr lang="en-US" sz="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295" name="Legend1"/>
            <p:cNvSpPr>
              <a:spLocks noChangeArrowheads="1"/>
            </p:cNvSpPr>
            <p:nvPr/>
          </p:nvSpPr>
          <p:spPr bwMode="gray">
            <a:xfrm>
              <a:off x="6458786" y="716248"/>
              <a:ext cx="820738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Δ 0.05-0.5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</a:t>
              </a:r>
            </a:p>
          </p:txBody>
        </p:sp>
        <p:sp>
          <p:nvSpPr>
            <p:cNvPr id="302" name="LegendRectangle1"/>
            <p:cNvSpPr>
              <a:spLocks noChangeArrowheads="1"/>
            </p:cNvSpPr>
            <p:nvPr/>
          </p:nvSpPr>
          <p:spPr bwMode="gray">
            <a:xfrm>
              <a:off x="6290978" y="910796"/>
              <a:ext cx="138499" cy="13849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lIns="0" tIns="0" rIns="0" bIns="0"/>
            <a:lstStyle/>
            <a:p>
              <a:pPr marL="342900" indent="-342900" defTabSz="895350"/>
              <a:endParaRPr lang="en-US" sz="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303" name="Legend1"/>
            <p:cNvSpPr>
              <a:spLocks noChangeArrowheads="1"/>
            </p:cNvSpPr>
            <p:nvPr/>
          </p:nvSpPr>
          <p:spPr bwMode="gray">
            <a:xfrm>
              <a:off x="6458786" y="910796"/>
              <a:ext cx="987450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342900" indent="-342900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28663" indent="-280988" defTabSz="895350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20775" indent="-225425" defTabSz="895350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568450" indent="-223838" defTabSz="895350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16125" indent="-223838" defTabSz="895350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4733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305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3877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44925" indent="-223838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234243"/>
                </a:buClr>
              </a:pPr>
              <a:r>
                <a:rPr lang="el-GR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-0.05&lt;Δ&lt;0.05 </a:t>
              </a:r>
              <a:r>
                <a:rPr lang="en-US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b</a:t>
              </a:r>
              <a:r>
                <a:rPr lang="en-US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/d</a:t>
              </a:r>
            </a:p>
          </p:txBody>
        </p:sp>
      </p:grpSp>
      <p:sp>
        <p:nvSpPr>
          <p:cNvPr id="223" name="Rectangle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75488" y="1610893"/>
            <a:ext cx="10955620" cy="485309"/>
          </a:xfrm>
          <a:prstGeom prst="rect">
            <a:avLst/>
          </a:prstGeom>
          <a:solidFill>
            <a:schemeClr val="accent2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100" dirty="0">
              <a:latin typeface="+mn-lt"/>
            </a:endParaRPr>
          </a:p>
        </p:txBody>
      </p:sp>
      <p:sp>
        <p:nvSpPr>
          <p:cNvPr id="224" name="Rectangle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75488" y="3524424"/>
            <a:ext cx="10955620" cy="520717"/>
          </a:xfrm>
          <a:prstGeom prst="rect">
            <a:avLst/>
          </a:prstGeom>
          <a:solidFill>
            <a:schemeClr val="accent2">
              <a:lumMod val="20000"/>
              <a:lumOff val="80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latin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100" dirty="0">
              <a:latin typeface="+mn-lt"/>
            </a:endParaRPr>
          </a:p>
        </p:txBody>
      </p:sp>
      <p:sp>
        <p:nvSpPr>
          <p:cNvPr id="350" name="Rectangle 13"/>
          <p:cNvSpPr>
            <a:spLocks noChangeArrowheads="1"/>
          </p:cNvSpPr>
          <p:nvPr/>
        </p:nvSpPr>
        <p:spPr bwMode="gray">
          <a:xfrm>
            <a:off x="1123986" y="3655954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Aviation</a:t>
            </a:r>
          </a:p>
        </p:txBody>
      </p:sp>
      <p:sp>
        <p:nvSpPr>
          <p:cNvPr id="359" name="Rectangle 9"/>
          <p:cNvSpPr>
            <a:spLocks noChangeArrowheads="1"/>
          </p:cNvSpPr>
          <p:nvPr/>
        </p:nvSpPr>
        <p:spPr bwMode="gray">
          <a:xfrm>
            <a:off x="1123986" y="4136433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Other transport</a:t>
            </a:r>
          </a:p>
        </p:txBody>
      </p:sp>
      <p:sp>
        <p:nvSpPr>
          <p:cNvPr id="362" name="Rectangle 19"/>
          <p:cNvSpPr>
            <a:spLocks noChangeArrowheads="1"/>
          </p:cNvSpPr>
          <p:nvPr/>
        </p:nvSpPr>
        <p:spPr bwMode="gray">
          <a:xfrm>
            <a:off x="1123986" y="2214518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Other industry</a:t>
            </a:r>
          </a:p>
        </p:txBody>
      </p:sp>
      <p:sp>
        <p:nvSpPr>
          <p:cNvPr id="353" name="Rectangle 21"/>
          <p:cNvSpPr>
            <a:spLocks noChangeArrowheads="1"/>
          </p:cNvSpPr>
          <p:nvPr/>
        </p:nvSpPr>
        <p:spPr bwMode="gray">
          <a:xfrm>
            <a:off x="1123986" y="1734043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b="1" dirty="0">
                <a:latin typeface="+mn-lt"/>
                <a:cs typeface="Arial" charset="0"/>
              </a:rPr>
              <a:t>Chemicals</a:t>
            </a:r>
          </a:p>
        </p:txBody>
      </p:sp>
      <p:sp>
        <p:nvSpPr>
          <p:cNvPr id="1239" name="Rectangle 58"/>
          <p:cNvSpPr>
            <a:spLocks noChangeArrowheads="1"/>
          </p:cNvSpPr>
          <p:nvPr/>
        </p:nvSpPr>
        <p:spPr bwMode="gray">
          <a:xfrm>
            <a:off x="1123986" y="5973670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buClr>
                <a:srgbClr val="234243"/>
              </a:buClr>
            </a:pPr>
            <a:r>
              <a:rPr lang="en-US" sz="1400" b="1" dirty="0">
                <a:solidFill>
                  <a:schemeClr val="accent3"/>
                </a:solidFill>
                <a:latin typeface="+mn-lt"/>
                <a:cs typeface="Arial" charset="0"/>
              </a:rPr>
              <a:t>2016-35 </a:t>
            </a:r>
            <a:r>
              <a:rPr lang="el-GR" sz="1400" dirty="0">
                <a:solidFill>
                  <a:schemeClr val="accent6"/>
                </a:solidFill>
                <a:latin typeface="+mn-lt"/>
                <a:cs typeface="Arial" charset="0"/>
              </a:rPr>
              <a:t>Δ</a:t>
            </a:r>
          </a:p>
        </p:txBody>
      </p:sp>
      <p:sp>
        <p:nvSpPr>
          <p:cNvPr id="367" name="Rectangle 7"/>
          <p:cNvSpPr>
            <a:spLocks noChangeArrowheads="1"/>
          </p:cNvSpPr>
          <p:nvPr/>
        </p:nvSpPr>
        <p:spPr bwMode="gray">
          <a:xfrm>
            <a:off x="1123986" y="5577868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257175" indent="-257175" defTabSz="671513">
              <a:buClr>
                <a:srgbClr val="234243"/>
              </a:buClr>
            </a:pPr>
            <a:r>
              <a:rPr lang="en-US" sz="1400" b="1">
                <a:solidFill>
                  <a:srgbClr val="48888A"/>
                </a:solidFill>
                <a:latin typeface="+mn-lt"/>
                <a:cs typeface="Arial" charset="0"/>
              </a:rPr>
              <a:t>Total</a:t>
            </a:r>
            <a:endParaRPr lang="en-US" sz="1400" b="1" dirty="0">
              <a:solidFill>
                <a:srgbClr val="48888A"/>
              </a:solidFill>
              <a:latin typeface="+mn-lt"/>
              <a:cs typeface="Arial" charset="0"/>
            </a:endParaRPr>
          </a:p>
        </p:txBody>
      </p:sp>
      <p:sp>
        <p:nvSpPr>
          <p:cNvPr id="343" name="Rectangle 7"/>
          <p:cNvSpPr>
            <a:spLocks noChangeArrowheads="1"/>
          </p:cNvSpPr>
          <p:nvPr/>
        </p:nvSpPr>
        <p:spPr bwMode="gray">
          <a:xfrm>
            <a:off x="1123986" y="4509191"/>
            <a:ext cx="146615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Residential/</a:t>
            </a:r>
          </a:p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Commercial</a:t>
            </a: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gray">
          <a:xfrm>
            <a:off x="1123986" y="2694999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b="1" dirty="0">
                <a:latin typeface="+mn-lt"/>
                <a:cs typeface="Arial" charset="0"/>
              </a:rPr>
              <a:t>Light vehicles</a:t>
            </a:r>
          </a:p>
        </p:txBody>
      </p:sp>
      <p:sp>
        <p:nvSpPr>
          <p:cNvPr id="347" name="Rectangle 7"/>
          <p:cNvSpPr>
            <a:spLocks noChangeArrowheads="1"/>
          </p:cNvSpPr>
          <p:nvPr/>
        </p:nvSpPr>
        <p:spPr bwMode="gray">
          <a:xfrm>
            <a:off x="1123986" y="5097389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dirty="0">
                <a:latin typeface="+mn-lt"/>
                <a:cs typeface="Arial" charset="0"/>
              </a:rPr>
              <a:t>Power</a:t>
            </a:r>
          </a:p>
        </p:txBody>
      </p:sp>
      <p:sp>
        <p:nvSpPr>
          <p:cNvPr id="327" name="Rectangle 9"/>
          <p:cNvSpPr>
            <a:spLocks noChangeArrowheads="1"/>
          </p:cNvSpPr>
          <p:nvPr/>
        </p:nvSpPr>
        <p:spPr bwMode="gray">
          <a:xfrm>
            <a:off x="1123986" y="3175473"/>
            <a:ext cx="14661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400" b="1" dirty="0">
                <a:latin typeface="+mn-lt"/>
                <a:cs typeface="Arial" charset="0"/>
              </a:rPr>
              <a:t>Heavy vehicles</a:t>
            </a:r>
          </a:p>
        </p:txBody>
      </p:sp>
      <p:pic>
        <p:nvPicPr>
          <p:cNvPr id="351" name="Picture 350"/>
          <p:cNvPicPr>
            <a:picLocks noChangeAspect="1"/>
          </p:cNvPicPr>
          <p:nvPr/>
        </p:nvPicPr>
        <p:blipFill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3566420"/>
            <a:ext cx="444411" cy="394506"/>
          </a:xfrm>
          <a:prstGeom prst="rect">
            <a:avLst/>
          </a:prstGeom>
        </p:spPr>
      </p:pic>
      <p:pic>
        <p:nvPicPr>
          <p:cNvPr id="360" name="Picture 359"/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4045141"/>
            <a:ext cx="444411" cy="398030"/>
          </a:xfrm>
          <a:prstGeom prst="rect">
            <a:avLst/>
          </a:prstGeom>
        </p:spPr>
      </p:pic>
      <p:pic>
        <p:nvPicPr>
          <p:cNvPr id="363" name="Picture 362"/>
          <p:cNvPicPr>
            <a:picLocks noChangeAspect="1"/>
          </p:cNvPicPr>
          <p:nvPr/>
        </p:nvPicPr>
        <p:blipFill>
          <a:blip r:embed="rId1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2128107"/>
            <a:ext cx="444411" cy="388262"/>
          </a:xfrm>
          <a:prstGeom prst="rect">
            <a:avLst/>
          </a:prstGeom>
        </p:spPr>
      </p:pic>
      <p:pic>
        <p:nvPicPr>
          <p:cNvPr id="354" name="Picture 353"/>
          <p:cNvPicPr>
            <a:picLocks noChangeAspect="1"/>
          </p:cNvPicPr>
          <p:nvPr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1640955"/>
            <a:ext cx="444411" cy="401614"/>
          </a:xfrm>
          <a:prstGeom prst="rect">
            <a:avLst/>
          </a:prstGeom>
        </p:spPr>
      </p:pic>
      <p:pic>
        <p:nvPicPr>
          <p:cNvPr id="345" name="Picture 344"/>
          <p:cNvPicPr>
            <a:picLocks noChangeAspect="1"/>
          </p:cNvPicPr>
          <p:nvPr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4527376"/>
            <a:ext cx="444411" cy="394506"/>
          </a:xfrm>
          <a:prstGeom prst="rect">
            <a:avLst/>
          </a:prstGeom>
        </p:spPr>
      </p:pic>
      <p:pic>
        <p:nvPicPr>
          <p:cNvPr id="357" name="Picture 356"/>
          <p:cNvPicPr>
            <a:picLocks noChangeAspect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2603721"/>
            <a:ext cx="444411" cy="397993"/>
          </a:xfrm>
          <a:prstGeom prst="rect">
            <a:avLst/>
          </a:prstGeom>
        </p:spPr>
      </p:pic>
      <p:pic>
        <p:nvPicPr>
          <p:cNvPr id="348" name="Picture 347"/>
          <p:cNvPicPr>
            <a:picLocks noChangeAspect="1"/>
          </p:cNvPicPr>
          <p:nvPr/>
        </p:nvPicPr>
        <p:blipFill>
          <a:blip r:embed="rId1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91" y="5006080"/>
            <a:ext cx="444411" cy="39805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17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145" y="3171036"/>
            <a:ext cx="476902" cy="258152"/>
          </a:xfrm>
          <a:prstGeom prst="rect">
            <a:avLst/>
          </a:prstGeom>
        </p:spPr>
      </p:pic>
      <p:sp>
        <p:nvSpPr>
          <p:cNvPr id="266" name="Rectangle 265"/>
          <p:cNvSpPr>
            <a:spLocks noChangeArrowheads="1"/>
          </p:cNvSpPr>
          <p:nvPr/>
        </p:nvSpPr>
        <p:spPr bwMode="gray">
          <a:xfrm>
            <a:off x="2563961" y="1385686"/>
            <a:ext cx="7409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China</a:t>
            </a:r>
          </a:p>
        </p:txBody>
      </p:sp>
      <p:sp>
        <p:nvSpPr>
          <p:cNvPr id="267" name="Rectangle 58"/>
          <p:cNvSpPr>
            <a:spLocks noChangeArrowheads="1"/>
          </p:cNvSpPr>
          <p:nvPr/>
        </p:nvSpPr>
        <p:spPr bwMode="gray">
          <a:xfrm>
            <a:off x="3361790" y="1385686"/>
            <a:ext cx="7409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India</a:t>
            </a:r>
          </a:p>
        </p:txBody>
      </p:sp>
      <p:sp>
        <p:nvSpPr>
          <p:cNvPr id="270" name="Rectangle 58"/>
          <p:cNvSpPr>
            <a:spLocks noChangeArrowheads="1"/>
          </p:cNvSpPr>
          <p:nvPr/>
        </p:nvSpPr>
        <p:spPr bwMode="gray">
          <a:xfrm>
            <a:off x="2563961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GB" sz="1200" b="1" dirty="0">
                <a:solidFill>
                  <a:schemeClr val="bg1"/>
                </a:solidFill>
                <a:latin typeface="+mn-lt"/>
              </a:rPr>
              <a:t>3.9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8" name="Rectangle 58"/>
          <p:cNvSpPr>
            <a:spLocks noChangeArrowheads="1"/>
          </p:cNvSpPr>
          <p:nvPr/>
        </p:nvSpPr>
        <p:spPr bwMode="gray">
          <a:xfrm>
            <a:off x="3361790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2.9</a:t>
            </a:r>
          </a:p>
        </p:txBody>
      </p:sp>
      <p:sp>
        <p:nvSpPr>
          <p:cNvPr id="289" name="Rectangle 58"/>
          <p:cNvSpPr>
            <a:spLocks noChangeArrowheads="1"/>
          </p:cNvSpPr>
          <p:nvPr/>
        </p:nvSpPr>
        <p:spPr bwMode="gray">
          <a:xfrm>
            <a:off x="10608859" y="1385686"/>
            <a:ext cx="83612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marL="342900" indent="-342900" defTabSz="895350"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953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9535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9535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9535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2016-35 </a:t>
            </a:r>
            <a:r>
              <a:rPr lang="el-GR" sz="1200" dirty="0">
                <a:solidFill>
                  <a:schemeClr val="tx2"/>
                </a:solidFill>
                <a:latin typeface="+mn-lt"/>
                <a:cs typeface="Arial" charset="0"/>
              </a:rPr>
              <a:t>Δ</a:t>
            </a:r>
          </a:p>
        </p:txBody>
      </p:sp>
      <p:sp>
        <p:nvSpPr>
          <p:cNvPr id="290" name="Rectangle 58"/>
          <p:cNvSpPr>
            <a:spLocks noChangeArrowheads="1"/>
          </p:cNvSpPr>
          <p:nvPr/>
        </p:nvSpPr>
        <p:spPr bwMode="gray">
          <a:xfrm>
            <a:off x="9744415" y="1385686"/>
            <a:ext cx="7409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Total</a:t>
            </a:r>
            <a:endParaRPr lang="en-US" sz="1200" b="1" baseline="30000" dirty="0">
              <a:solidFill>
                <a:schemeClr val="accent2"/>
              </a:solidFill>
              <a:latin typeface="+mn-lt"/>
              <a:cs typeface="Arial" charset="0"/>
            </a:endParaRPr>
          </a:p>
        </p:txBody>
      </p:sp>
      <p:sp>
        <p:nvSpPr>
          <p:cNvPr id="293" name="Rectangle 58"/>
          <p:cNvSpPr>
            <a:spLocks noChangeArrowheads="1"/>
          </p:cNvSpPr>
          <p:nvPr/>
        </p:nvSpPr>
        <p:spPr bwMode="gray">
          <a:xfrm>
            <a:off x="7350929" y="1201020"/>
            <a:ext cx="7409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Russia </a:t>
            </a:r>
            <a:b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</a:b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&amp; CIS</a:t>
            </a:r>
          </a:p>
        </p:txBody>
      </p:sp>
      <p:sp>
        <p:nvSpPr>
          <p:cNvPr id="301" name="Rectangle 58"/>
          <p:cNvSpPr>
            <a:spLocks noChangeArrowheads="1"/>
          </p:cNvSpPr>
          <p:nvPr/>
        </p:nvSpPr>
        <p:spPr bwMode="gray">
          <a:xfrm>
            <a:off x="8148757" y="1385686"/>
            <a:ext cx="7409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Europe</a:t>
            </a:r>
          </a:p>
        </p:txBody>
      </p:sp>
      <p:sp>
        <p:nvSpPr>
          <p:cNvPr id="304" name="Rectangle 58"/>
          <p:cNvSpPr>
            <a:spLocks noChangeArrowheads="1"/>
          </p:cNvSpPr>
          <p:nvPr/>
        </p:nvSpPr>
        <p:spPr bwMode="gray">
          <a:xfrm>
            <a:off x="8946585" y="1201020"/>
            <a:ext cx="7409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North America</a:t>
            </a:r>
          </a:p>
        </p:txBody>
      </p:sp>
      <p:sp>
        <p:nvSpPr>
          <p:cNvPr id="305" name="Rectangle 58"/>
          <p:cNvSpPr>
            <a:spLocks noChangeArrowheads="1"/>
          </p:cNvSpPr>
          <p:nvPr/>
        </p:nvSpPr>
        <p:spPr bwMode="gray">
          <a:xfrm>
            <a:off x="6553101" y="1201020"/>
            <a:ext cx="7409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Latin America</a:t>
            </a:r>
          </a:p>
        </p:txBody>
      </p:sp>
      <p:sp>
        <p:nvSpPr>
          <p:cNvPr id="306" name="Rectangle 58"/>
          <p:cNvSpPr>
            <a:spLocks noChangeArrowheads="1"/>
          </p:cNvSpPr>
          <p:nvPr/>
        </p:nvSpPr>
        <p:spPr bwMode="gray">
          <a:xfrm>
            <a:off x="4159617" y="1201020"/>
            <a:ext cx="74091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Middle East</a:t>
            </a:r>
          </a:p>
        </p:txBody>
      </p:sp>
      <p:sp>
        <p:nvSpPr>
          <p:cNvPr id="307" name="Rectangle 373"/>
          <p:cNvSpPr>
            <a:spLocks noChangeArrowheads="1"/>
          </p:cNvSpPr>
          <p:nvPr/>
        </p:nvSpPr>
        <p:spPr bwMode="gray">
          <a:xfrm>
            <a:off x="10699247" y="3652479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2.7</a:t>
            </a:r>
          </a:p>
        </p:txBody>
      </p:sp>
      <p:sp>
        <p:nvSpPr>
          <p:cNvPr id="308" name="Isosceles Triangle 862"/>
          <p:cNvSpPr>
            <a:spLocks noChangeArrowheads="1"/>
          </p:cNvSpPr>
          <p:nvPr/>
        </p:nvSpPr>
        <p:spPr bwMode="gray">
          <a:xfrm flipH="1">
            <a:off x="7350929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09" name="Isosceles Triangle 936"/>
          <p:cNvSpPr>
            <a:spLocks noChangeArrowheads="1"/>
          </p:cNvSpPr>
          <p:nvPr/>
        </p:nvSpPr>
        <p:spPr bwMode="gray">
          <a:xfrm flipH="1" flipV="1">
            <a:off x="5754530" y="3559123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0" name="Isosceles Triangle 854"/>
          <p:cNvSpPr>
            <a:spLocks noChangeArrowheads="1"/>
          </p:cNvSpPr>
          <p:nvPr/>
        </p:nvSpPr>
        <p:spPr bwMode="gray">
          <a:xfrm flipH="1">
            <a:off x="8148757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1" name="Isosceles Triangle 1010"/>
          <p:cNvSpPr>
            <a:spLocks noChangeArrowheads="1"/>
          </p:cNvSpPr>
          <p:nvPr/>
        </p:nvSpPr>
        <p:spPr bwMode="gray">
          <a:xfrm flipH="1">
            <a:off x="8946585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2" name="Isosceles Triangle 854"/>
          <p:cNvSpPr>
            <a:spLocks noChangeArrowheads="1"/>
          </p:cNvSpPr>
          <p:nvPr/>
        </p:nvSpPr>
        <p:spPr bwMode="gray">
          <a:xfrm flipH="1">
            <a:off x="6553101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3" name="Rectangle 372"/>
          <p:cNvSpPr>
            <a:spLocks noChangeArrowheads="1"/>
          </p:cNvSpPr>
          <p:nvPr/>
        </p:nvSpPr>
        <p:spPr bwMode="gray">
          <a:xfrm>
            <a:off x="10699247" y="4132957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0.5</a:t>
            </a:r>
          </a:p>
        </p:txBody>
      </p:sp>
      <p:sp>
        <p:nvSpPr>
          <p:cNvPr id="314" name="Isosceles Triangle 864"/>
          <p:cNvSpPr>
            <a:spLocks noChangeArrowheads="1"/>
          </p:cNvSpPr>
          <p:nvPr/>
        </p:nvSpPr>
        <p:spPr bwMode="gray">
          <a:xfrm flipH="1">
            <a:off x="7350929" y="4039600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5" name="Isosceles Triangle 938"/>
          <p:cNvSpPr>
            <a:spLocks noChangeArrowheads="1"/>
          </p:cNvSpPr>
          <p:nvPr/>
        </p:nvSpPr>
        <p:spPr bwMode="gray">
          <a:xfrm flipH="1">
            <a:off x="5754530" y="4039600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6" name="Isosceles Triangle 1049"/>
          <p:cNvSpPr>
            <a:spLocks noChangeArrowheads="1"/>
          </p:cNvSpPr>
          <p:nvPr/>
        </p:nvSpPr>
        <p:spPr bwMode="gray">
          <a:xfrm flipH="1">
            <a:off x="8148757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7" name="Isosceles Triangle 1012"/>
          <p:cNvSpPr>
            <a:spLocks noChangeArrowheads="1"/>
          </p:cNvSpPr>
          <p:nvPr/>
        </p:nvSpPr>
        <p:spPr bwMode="gray">
          <a:xfrm flipH="1">
            <a:off x="8946585" y="4039600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19" name="Isosceles Triangle 901"/>
          <p:cNvSpPr>
            <a:spLocks noChangeArrowheads="1"/>
          </p:cNvSpPr>
          <p:nvPr/>
        </p:nvSpPr>
        <p:spPr bwMode="gray">
          <a:xfrm flipH="1">
            <a:off x="6553101" y="4039600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0" name="Rectangle 364"/>
          <p:cNvSpPr>
            <a:spLocks noChangeArrowheads="1"/>
          </p:cNvSpPr>
          <p:nvPr/>
        </p:nvSpPr>
        <p:spPr bwMode="gray">
          <a:xfrm>
            <a:off x="10699247" y="2211043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0.7</a:t>
            </a:r>
          </a:p>
        </p:txBody>
      </p:sp>
      <p:sp>
        <p:nvSpPr>
          <p:cNvPr id="321" name="Isosceles Triangle 870"/>
          <p:cNvSpPr>
            <a:spLocks noChangeArrowheads="1"/>
          </p:cNvSpPr>
          <p:nvPr/>
        </p:nvSpPr>
        <p:spPr bwMode="gray">
          <a:xfrm flipH="1">
            <a:off x="7350929" y="2117686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2" name="Isosceles Triangle 944"/>
          <p:cNvSpPr>
            <a:spLocks noChangeArrowheads="1"/>
          </p:cNvSpPr>
          <p:nvPr/>
        </p:nvSpPr>
        <p:spPr bwMode="gray">
          <a:xfrm flipH="1">
            <a:off x="5754530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3" name="Isosceles Triangle 854"/>
          <p:cNvSpPr>
            <a:spLocks noChangeArrowheads="1"/>
          </p:cNvSpPr>
          <p:nvPr/>
        </p:nvSpPr>
        <p:spPr bwMode="gray">
          <a:xfrm flipH="1">
            <a:off x="8148757" y="2117686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4" name="Isosceles Triangle 1018"/>
          <p:cNvSpPr>
            <a:spLocks noChangeArrowheads="1"/>
          </p:cNvSpPr>
          <p:nvPr/>
        </p:nvSpPr>
        <p:spPr bwMode="gray">
          <a:xfrm flipH="1">
            <a:off x="8946585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5" name="Isosceles Triangle 854"/>
          <p:cNvSpPr>
            <a:spLocks noChangeArrowheads="1"/>
          </p:cNvSpPr>
          <p:nvPr/>
        </p:nvSpPr>
        <p:spPr bwMode="gray">
          <a:xfrm flipH="1">
            <a:off x="6553101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6" name="Rectangle 363"/>
          <p:cNvSpPr>
            <a:spLocks noChangeArrowheads="1"/>
          </p:cNvSpPr>
          <p:nvPr/>
        </p:nvSpPr>
        <p:spPr bwMode="gray">
          <a:xfrm>
            <a:off x="10699247" y="1730566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6.7</a:t>
            </a:r>
          </a:p>
        </p:txBody>
      </p:sp>
      <p:sp>
        <p:nvSpPr>
          <p:cNvPr id="328" name="Isosceles Triangle 854"/>
          <p:cNvSpPr>
            <a:spLocks noChangeArrowheads="1"/>
          </p:cNvSpPr>
          <p:nvPr/>
        </p:nvSpPr>
        <p:spPr bwMode="gray">
          <a:xfrm flipH="1" flipV="1">
            <a:off x="7350929" y="1637209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29" name="Isosceles Triangle 946"/>
          <p:cNvSpPr>
            <a:spLocks noChangeArrowheads="1"/>
          </p:cNvSpPr>
          <p:nvPr/>
        </p:nvSpPr>
        <p:spPr bwMode="gray">
          <a:xfrm flipH="1" flipV="1">
            <a:off x="5754530" y="1637209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30" name="Isosceles Triangle 854"/>
          <p:cNvSpPr>
            <a:spLocks noChangeArrowheads="1"/>
          </p:cNvSpPr>
          <p:nvPr/>
        </p:nvSpPr>
        <p:spPr bwMode="gray">
          <a:xfrm flipH="1" flipV="1">
            <a:off x="8148757" y="1637209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31" name="Isosceles Triangle 854"/>
          <p:cNvSpPr>
            <a:spLocks noChangeArrowheads="1"/>
          </p:cNvSpPr>
          <p:nvPr/>
        </p:nvSpPr>
        <p:spPr bwMode="gray">
          <a:xfrm flipH="1">
            <a:off x="8946585" y="1637209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32" name="Isosceles Triangle 854"/>
          <p:cNvSpPr>
            <a:spLocks noChangeArrowheads="1"/>
          </p:cNvSpPr>
          <p:nvPr/>
        </p:nvSpPr>
        <p:spPr bwMode="gray">
          <a:xfrm flipH="1">
            <a:off x="6553101" y="1637209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33" name="Rectangle 369"/>
          <p:cNvSpPr>
            <a:spLocks noChangeArrowheads="1"/>
          </p:cNvSpPr>
          <p:nvPr/>
        </p:nvSpPr>
        <p:spPr bwMode="gray">
          <a:xfrm>
            <a:off x="10699247" y="5961510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pl-PL" sz="1200" b="1" dirty="0">
                <a:solidFill>
                  <a:schemeClr val="bg1"/>
                </a:solidFill>
                <a:latin typeface="+mn-lt"/>
              </a:rPr>
              <a:t>1</a:t>
            </a:r>
            <a:r>
              <a:rPr lang="en-GB" sz="1200" b="1" dirty="0">
                <a:solidFill>
                  <a:schemeClr val="bg1"/>
                </a:solidFill>
                <a:latin typeface="+mn-lt"/>
              </a:rPr>
              <a:t>1.2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4" name="Rectangle 58"/>
          <p:cNvSpPr>
            <a:spLocks noChangeArrowheads="1"/>
          </p:cNvSpPr>
          <p:nvPr/>
        </p:nvSpPr>
        <p:spPr bwMode="gray">
          <a:xfrm>
            <a:off x="7350929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0.6</a:t>
            </a:r>
          </a:p>
        </p:txBody>
      </p:sp>
      <p:sp>
        <p:nvSpPr>
          <p:cNvPr id="335" name="Rectangle 58"/>
          <p:cNvSpPr>
            <a:spLocks noChangeArrowheads="1"/>
          </p:cNvSpPr>
          <p:nvPr/>
        </p:nvSpPr>
        <p:spPr bwMode="gray">
          <a:xfrm>
            <a:off x="5754530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0.9</a:t>
            </a:r>
          </a:p>
        </p:txBody>
      </p:sp>
      <p:sp>
        <p:nvSpPr>
          <p:cNvPr id="336" name="Rectangle 58"/>
          <p:cNvSpPr>
            <a:spLocks noChangeArrowheads="1"/>
          </p:cNvSpPr>
          <p:nvPr/>
        </p:nvSpPr>
        <p:spPr bwMode="gray">
          <a:xfrm>
            <a:off x="8148757" y="5961510"/>
            <a:ext cx="740915" cy="222387"/>
          </a:xfrm>
          <a:prstGeom prst="ellipse">
            <a:avLst/>
          </a:prstGeom>
          <a:solidFill>
            <a:srgbClr val="FF0000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-1.7</a:t>
            </a:r>
          </a:p>
        </p:txBody>
      </p:sp>
      <p:sp>
        <p:nvSpPr>
          <p:cNvPr id="337" name="Rectangle 58"/>
          <p:cNvSpPr>
            <a:spLocks noChangeArrowheads="1"/>
          </p:cNvSpPr>
          <p:nvPr/>
        </p:nvSpPr>
        <p:spPr bwMode="gray">
          <a:xfrm>
            <a:off x="8946585" y="5961510"/>
            <a:ext cx="740915" cy="222387"/>
          </a:xfrm>
          <a:prstGeom prst="ellipse">
            <a:avLst/>
          </a:prstGeom>
          <a:solidFill>
            <a:srgbClr val="FF0000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-0.1</a:t>
            </a:r>
          </a:p>
        </p:txBody>
      </p:sp>
      <p:sp>
        <p:nvSpPr>
          <p:cNvPr id="338" name="Rectangle 58"/>
          <p:cNvSpPr>
            <a:spLocks noChangeArrowheads="1"/>
          </p:cNvSpPr>
          <p:nvPr/>
        </p:nvSpPr>
        <p:spPr bwMode="gray">
          <a:xfrm>
            <a:off x="6553101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1.7</a:t>
            </a:r>
          </a:p>
        </p:txBody>
      </p:sp>
      <p:sp>
        <p:nvSpPr>
          <p:cNvPr id="339" name="Rectangle 58"/>
          <p:cNvSpPr>
            <a:spLocks noChangeArrowheads="1"/>
          </p:cNvSpPr>
          <p:nvPr/>
        </p:nvSpPr>
        <p:spPr bwMode="gray">
          <a:xfrm>
            <a:off x="4159617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GB" sz="1200" b="1" dirty="0">
                <a:solidFill>
                  <a:schemeClr val="bg1"/>
                </a:solidFill>
                <a:latin typeface="+mn-lt"/>
              </a:rPr>
              <a:t>1.2</a:t>
            </a:r>
            <a:endParaRPr lang="en-US" sz="1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0" name="Rectangle 58"/>
          <p:cNvSpPr>
            <a:spLocks noChangeArrowheads="1"/>
          </p:cNvSpPr>
          <p:nvPr/>
        </p:nvSpPr>
        <p:spPr bwMode="gray">
          <a:xfrm>
            <a:off x="4955006" y="5961510"/>
            <a:ext cx="740915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1.7</a:t>
            </a:r>
          </a:p>
        </p:txBody>
      </p:sp>
      <p:sp>
        <p:nvSpPr>
          <p:cNvPr id="341" name="Rectangle 370"/>
          <p:cNvSpPr>
            <a:spLocks noChangeArrowheads="1"/>
          </p:cNvSpPr>
          <p:nvPr/>
        </p:nvSpPr>
        <p:spPr bwMode="gray">
          <a:xfrm>
            <a:off x="10699247" y="4613436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0.7</a:t>
            </a:r>
          </a:p>
        </p:txBody>
      </p:sp>
      <p:sp>
        <p:nvSpPr>
          <p:cNvPr id="342" name="Isosceles Triangle 858"/>
          <p:cNvSpPr>
            <a:spLocks noChangeArrowheads="1"/>
          </p:cNvSpPr>
          <p:nvPr/>
        </p:nvSpPr>
        <p:spPr bwMode="gray">
          <a:xfrm flipH="1">
            <a:off x="7350929" y="4520078"/>
            <a:ext cx="740915" cy="409108"/>
          </a:xfrm>
          <a:prstGeom prst="rect">
            <a:avLst/>
          </a:prstGeom>
          <a:solidFill>
            <a:srgbClr val="F7A797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44" name="Isosceles Triangle 932"/>
          <p:cNvSpPr>
            <a:spLocks noChangeArrowheads="1"/>
          </p:cNvSpPr>
          <p:nvPr/>
        </p:nvSpPr>
        <p:spPr bwMode="gray">
          <a:xfrm flipH="1">
            <a:off x="5754530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46" name="Isosceles Triangle 1043"/>
          <p:cNvSpPr>
            <a:spLocks noChangeArrowheads="1"/>
          </p:cNvSpPr>
          <p:nvPr/>
        </p:nvSpPr>
        <p:spPr bwMode="gray">
          <a:xfrm flipH="1">
            <a:off x="8148757" y="452007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49" name="Isosceles Triangle 1006"/>
          <p:cNvSpPr>
            <a:spLocks noChangeArrowheads="1"/>
          </p:cNvSpPr>
          <p:nvPr/>
        </p:nvSpPr>
        <p:spPr bwMode="gray">
          <a:xfrm flipH="1">
            <a:off x="8946585" y="452007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52" name="Isosceles Triangle 895"/>
          <p:cNvSpPr>
            <a:spLocks noChangeArrowheads="1"/>
          </p:cNvSpPr>
          <p:nvPr/>
        </p:nvSpPr>
        <p:spPr bwMode="gray">
          <a:xfrm flipH="1">
            <a:off x="6553101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55" name="Rectangle 366"/>
          <p:cNvSpPr>
            <a:spLocks noChangeArrowheads="1"/>
          </p:cNvSpPr>
          <p:nvPr/>
        </p:nvSpPr>
        <p:spPr bwMode="gray">
          <a:xfrm>
            <a:off x="10699247" y="2691522"/>
            <a:ext cx="655350" cy="22238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1.7</a:t>
            </a:r>
          </a:p>
        </p:txBody>
      </p:sp>
      <p:sp>
        <p:nvSpPr>
          <p:cNvPr id="358" name="Isosceles Triangle 866"/>
          <p:cNvSpPr>
            <a:spLocks noChangeArrowheads="1"/>
          </p:cNvSpPr>
          <p:nvPr/>
        </p:nvSpPr>
        <p:spPr bwMode="gray">
          <a:xfrm flipH="1">
            <a:off x="7350929" y="2598166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61" name="Isosceles Triangle 940"/>
          <p:cNvSpPr>
            <a:spLocks noChangeArrowheads="1"/>
          </p:cNvSpPr>
          <p:nvPr/>
        </p:nvSpPr>
        <p:spPr bwMode="gray">
          <a:xfrm flipH="1">
            <a:off x="5754530" y="2598166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64" name="Isosceles Triangle 1051"/>
          <p:cNvSpPr>
            <a:spLocks noChangeArrowheads="1"/>
          </p:cNvSpPr>
          <p:nvPr/>
        </p:nvSpPr>
        <p:spPr bwMode="gray">
          <a:xfrm flipH="1">
            <a:off x="8148757" y="2598166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65" name="Isosceles Triangle 1014"/>
          <p:cNvSpPr>
            <a:spLocks noChangeArrowheads="1"/>
          </p:cNvSpPr>
          <p:nvPr/>
        </p:nvSpPr>
        <p:spPr bwMode="gray">
          <a:xfrm flipH="1">
            <a:off x="8946585" y="2598166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66" name="Isosceles Triangle 903"/>
          <p:cNvSpPr>
            <a:spLocks noChangeArrowheads="1"/>
          </p:cNvSpPr>
          <p:nvPr/>
        </p:nvSpPr>
        <p:spPr bwMode="gray">
          <a:xfrm flipH="1">
            <a:off x="6553101" y="2598166"/>
            <a:ext cx="740915" cy="409108"/>
          </a:xfrm>
          <a:prstGeom prst="rect">
            <a:avLst/>
          </a:prstGeom>
          <a:solidFill>
            <a:srgbClr val="92D05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78" name="Rectangle 370"/>
          <p:cNvSpPr>
            <a:spLocks noChangeArrowheads="1"/>
          </p:cNvSpPr>
          <p:nvPr/>
        </p:nvSpPr>
        <p:spPr bwMode="gray">
          <a:xfrm>
            <a:off x="10699247" y="5093914"/>
            <a:ext cx="655350" cy="222387"/>
          </a:xfrm>
          <a:prstGeom prst="ellipse">
            <a:avLst/>
          </a:prstGeom>
          <a:solidFill>
            <a:srgbClr val="FF0000"/>
          </a:solidFill>
          <a:ln w="19050" algn="ctr">
            <a:noFill/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-1.7</a:t>
            </a:r>
          </a:p>
        </p:txBody>
      </p:sp>
      <p:sp>
        <p:nvSpPr>
          <p:cNvPr id="379" name="Isosceles Triangle 858"/>
          <p:cNvSpPr>
            <a:spLocks noChangeArrowheads="1"/>
          </p:cNvSpPr>
          <p:nvPr/>
        </p:nvSpPr>
        <p:spPr bwMode="gray">
          <a:xfrm flipH="1">
            <a:off x="7350929" y="5000558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0" name="Isosceles Triangle 932"/>
          <p:cNvSpPr>
            <a:spLocks noChangeArrowheads="1"/>
          </p:cNvSpPr>
          <p:nvPr/>
        </p:nvSpPr>
        <p:spPr bwMode="gray">
          <a:xfrm flipH="1">
            <a:off x="5754530" y="500055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1" name="Isosceles Triangle 1043"/>
          <p:cNvSpPr>
            <a:spLocks noChangeArrowheads="1"/>
          </p:cNvSpPr>
          <p:nvPr/>
        </p:nvSpPr>
        <p:spPr bwMode="gray">
          <a:xfrm flipH="1">
            <a:off x="8148757" y="500055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2" name="Isosceles Triangle 1006"/>
          <p:cNvSpPr>
            <a:spLocks noChangeArrowheads="1"/>
          </p:cNvSpPr>
          <p:nvPr/>
        </p:nvSpPr>
        <p:spPr bwMode="gray">
          <a:xfrm flipH="1">
            <a:off x="8946585" y="5000558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3" name="Isosceles Triangle 895"/>
          <p:cNvSpPr>
            <a:spLocks noChangeArrowheads="1"/>
          </p:cNvSpPr>
          <p:nvPr/>
        </p:nvSpPr>
        <p:spPr bwMode="gray">
          <a:xfrm flipH="1">
            <a:off x="6553101" y="500055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4" name="Rectangle 58"/>
          <p:cNvSpPr>
            <a:spLocks noChangeArrowheads="1"/>
          </p:cNvSpPr>
          <p:nvPr/>
        </p:nvSpPr>
        <p:spPr bwMode="gray">
          <a:xfrm>
            <a:off x="4955006" y="1385686"/>
            <a:ext cx="7409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Africa</a:t>
            </a:r>
          </a:p>
        </p:txBody>
      </p:sp>
      <p:sp>
        <p:nvSpPr>
          <p:cNvPr id="385" name="Rectangle 367"/>
          <p:cNvSpPr>
            <a:spLocks noChangeArrowheads="1"/>
          </p:cNvSpPr>
          <p:nvPr/>
        </p:nvSpPr>
        <p:spPr bwMode="gray">
          <a:xfrm>
            <a:off x="10699247" y="3171999"/>
            <a:ext cx="655350" cy="222387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r>
              <a:rPr lang="en-US" sz="1200" dirty="0">
                <a:solidFill>
                  <a:schemeClr val="bg1"/>
                </a:solidFill>
                <a:latin typeface="+mn-lt"/>
                <a:cs typeface="Arial" charset="0"/>
              </a:rPr>
              <a:t>0</a:t>
            </a:r>
          </a:p>
        </p:txBody>
      </p:sp>
      <p:sp>
        <p:nvSpPr>
          <p:cNvPr id="386" name="Isosceles Triangle 854"/>
          <p:cNvSpPr>
            <a:spLocks noChangeArrowheads="1"/>
          </p:cNvSpPr>
          <p:nvPr/>
        </p:nvSpPr>
        <p:spPr bwMode="gray">
          <a:xfrm flipH="1">
            <a:off x="7350929" y="3078644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7" name="Isosceles Triangle 928"/>
          <p:cNvSpPr>
            <a:spLocks noChangeArrowheads="1"/>
          </p:cNvSpPr>
          <p:nvPr/>
        </p:nvSpPr>
        <p:spPr bwMode="gray">
          <a:xfrm flipH="1" flipV="1">
            <a:off x="5754530" y="3078644"/>
            <a:ext cx="740915" cy="409108"/>
          </a:xfrm>
          <a:prstGeom prst="rect">
            <a:avLst/>
          </a:prstGeom>
          <a:solidFill>
            <a:srgbClr val="F7A797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8" name="Isosceles Triangle 1039"/>
          <p:cNvSpPr>
            <a:spLocks noChangeArrowheads="1"/>
          </p:cNvSpPr>
          <p:nvPr/>
        </p:nvSpPr>
        <p:spPr bwMode="gray">
          <a:xfrm flipH="1">
            <a:off x="8148757" y="3078644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89" name="Isosceles Triangle 1002"/>
          <p:cNvSpPr>
            <a:spLocks noChangeArrowheads="1"/>
          </p:cNvSpPr>
          <p:nvPr/>
        </p:nvSpPr>
        <p:spPr bwMode="gray">
          <a:xfrm flipH="1">
            <a:off x="8946585" y="3078644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0" name="Isosceles Triangle 854"/>
          <p:cNvSpPr>
            <a:spLocks noChangeArrowheads="1"/>
          </p:cNvSpPr>
          <p:nvPr/>
        </p:nvSpPr>
        <p:spPr bwMode="gray">
          <a:xfrm flipH="1">
            <a:off x="6553101" y="3078644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1" name="Isosceles Triangle 854"/>
          <p:cNvSpPr>
            <a:spLocks noChangeArrowheads="1"/>
          </p:cNvSpPr>
          <p:nvPr/>
        </p:nvSpPr>
        <p:spPr bwMode="gray">
          <a:xfrm flipH="1" flipV="1">
            <a:off x="2563961" y="3559123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2" name="Isosceles Triangle 816"/>
          <p:cNvSpPr>
            <a:spLocks noChangeArrowheads="1"/>
          </p:cNvSpPr>
          <p:nvPr/>
        </p:nvSpPr>
        <p:spPr bwMode="gray">
          <a:xfrm flipH="1">
            <a:off x="3361790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3" name="Isosceles Triangle 813"/>
          <p:cNvSpPr>
            <a:spLocks noChangeArrowheads="1"/>
          </p:cNvSpPr>
          <p:nvPr/>
        </p:nvSpPr>
        <p:spPr bwMode="gray">
          <a:xfrm flipH="1">
            <a:off x="2563961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4" name="Isosceles Triangle 813"/>
          <p:cNvSpPr>
            <a:spLocks noChangeArrowheads="1"/>
          </p:cNvSpPr>
          <p:nvPr/>
        </p:nvSpPr>
        <p:spPr bwMode="gray">
          <a:xfrm flipH="1">
            <a:off x="3361790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5" name="Isosceles Triangle 804"/>
          <p:cNvSpPr>
            <a:spLocks noChangeArrowheads="1"/>
          </p:cNvSpPr>
          <p:nvPr/>
        </p:nvSpPr>
        <p:spPr bwMode="gray">
          <a:xfrm flipH="1">
            <a:off x="2563961" y="2117974"/>
            <a:ext cx="740915" cy="408529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6" name="Isosceles Triangle 804"/>
          <p:cNvSpPr>
            <a:spLocks noChangeArrowheads="1"/>
          </p:cNvSpPr>
          <p:nvPr/>
        </p:nvSpPr>
        <p:spPr bwMode="gray">
          <a:xfrm flipH="1">
            <a:off x="3361790" y="2117974"/>
            <a:ext cx="740915" cy="408529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7" name="Isosceles Triangle 799"/>
          <p:cNvSpPr>
            <a:spLocks noChangeArrowheads="1"/>
          </p:cNvSpPr>
          <p:nvPr/>
        </p:nvSpPr>
        <p:spPr bwMode="gray">
          <a:xfrm flipH="1">
            <a:off x="2563961" y="1637209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8" name="Isosceles Triangle 799"/>
          <p:cNvSpPr>
            <a:spLocks noChangeArrowheads="1"/>
          </p:cNvSpPr>
          <p:nvPr/>
        </p:nvSpPr>
        <p:spPr bwMode="gray">
          <a:xfrm flipH="1" flipV="1">
            <a:off x="3361790" y="1637209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399" name="Isosceles Triangle 822"/>
          <p:cNvSpPr>
            <a:spLocks noChangeArrowheads="1"/>
          </p:cNvSpPr>
          <p:nvPr/>
        </p:nvSpPr>
        <p:spPr bwMode="gray">
          <a:xfrm flipH="1">
            <a:off x="2563961" y="4520078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0" name="Isosceles Triangle 822"/>
          <p:cNvSpPr>
            <a:spLocks noChangeArrowheads="1"/>
          </p:cNvSpPr>
          <p:nvPr/>
        </p:nvSpPr>
        <p:spPr bwMode="gray">
          <a:xfrm flipH="1">
            <a:off x="3361790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1" name="Isosceles Triangle 810"/>
          <p:cNvSpPr>
            <a:spLocks noChangeArrowheads="1"/>
          </p:cNvSpPr>
          <p:nvPr/>
        </p:nvSpPr>
        <p:spPr bwMode="gray">
          <a:xfrm flipH="1">
            <a:off x="2563961" y="2598166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2" name="Rectangle 401"/>
          <p:cNvSpPr>
            <a:spLocks noChangeArrowheads="1"/>
          </p:cNvSpPr>
          <p:nvPr/>
        </p:nvSpPr>
        <p:spPr bwMode="gray">
          <a:xfrm flipH="1">
            <a:off x="3361790" y="2598166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3" name="Isosceles Triangle 822"/>
          <p:cNvSpPr>
            <a:spLocks noChangeArrowheads="1"/>
          </p:cNvSpPr>
          <p:nvPr/>
        </p:nvSpPr>
        <p:spPr bwMode="gray">
          <a:xfrm flipH="1">
            <a:off x="2563961" y="500055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4" name="Isosceles Triangle 822"/>
          <p:cNvSpPr>
            <a:spLocks noChangeArrowheads="1"/>
          </p:cNvSpPr>
          <p:nvPr/>
        </p:nvSpPr>
        <p:spPr bwMode="gray">
          <a:xfrm flipH="1">
            <a:off x="3361790" y="500055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5" name="Isosceles Triangle 828"/>
          <p:cNvSpPr>
            <a:spLocks noChangeArrowheads="1"/>
          </p:cNvSpPr>
          <p:nvPr/>
        </p:nvSpPr>
        <p:spPr bwMode="gray">
          <a:xfrm flipH="1">
            <a:off x="2563961" y="3078644"/>
            <a:ext cx="740915" cy="409108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6" name="Isosceles Triangle 828"/>
          <p:cNvSpPr>
            <a:spLocks noChangeArrowheads="1"/>
          </p:cNvSpPr>
          <p:nvPr/>
        </p:nvSpPr>
        <p:spPr bwMode="gray">
          <a:xfrm flipH="1">
            <a:off x="3361790" y="3078644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7" name="Isosceles Triangle 973"/>
          <p:cNvSpPr>
            <a:spLocks noChangeArrowheads="1"/>
          </p:cNvSpPr>
          <p:nvPr/>
        </p:nvSpPr>
        <p:spPr bwMode="gray">
          <a:xfrm flipH="1">
            <a:off x="4159617" y="3559123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8" name="Isosceles Triangle 1084"/>
          <p:cNvSpPr>
            <a:spLocks noChangeArrowheads="1"/>
          </p:cNvSpPr>
          <p:nvPr/>
        </p:nvSpPr>
        <p:spPr bwMode="gray">
          <a:xfrm flipH="1">
            <a:off x="4955006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09" name="Isosceles Triangle 975"/>
          <p:cNvSpPr>
            <a:spLocks noChangeArrowheads="1"/>
          </p:cNvSpPr>
          <p:nvPr/>
        </p:nvSpPr>
        <p:spPr bwMode="gray">
          <a:xfrm flipH="1">
            <a:off x="4159617" y="4039600"/>
            <a:ext cx="740915" cy="40910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0" name="Isosceles Triangle 1086"/>
          <p:cNvSpPr>
            <a:spLocks noChangeArrowheads="1"/>
          </p:cNvSpPr>
          <p:nvPr/>
        </p:nvSpPr>
        <p:spPr bwMode="gray">
          <a:xfrm flipH="1">
            <a:off x="4955006" y="4039600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1" name="Isosceles Triangle 981"/>
          <p:cNvSpPr>
            <a:spLocks noChangeArrowheads="1"/>
          </p:cNvSpPr>
          <p:nvPr/>
        </p:nvSpPr>
        <p:spPr bwMode="gray">
          <a:xfrm flipH="1">
            <a:off x="4159617" y="2117686"/>
            <a:ext cx="740915" cy="409108"/>
          </a:xfrm>
          <a:prstGeom prst="rect">
            <a:avLst/>
          </a:prstGeom>
          <a:solidFill>
            <a:srgbClr val="F7A797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2" name="Isosceles Triangle 1092"/>
          <p:cNvSpPr>
            <a:spLocks noChangeArrowheads="1"/>
          </p:cNvSpPr>
          <p:nvPr/>
        </p:nvSpPr>
        <p:spPr bwMode="gray">
          <a:xfrm flipH="1">
            <a:off x="4955006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3" name="Isosceles Triangle 983"/>
          <p:cNvSpPr>
            <a:spLocks noChangeArrowheads="1"/>
          </p:cNvSpPr>
          <p:nvPr/>
        </p:nvSpPr>
        <p:spPr bwMode="gray">
          <a:xfrm flipH="1">
            <a:off x="4159617" y="1637209"/>
            <a:ext cx="740915" cy="409108"/>
          </a:xfrm>
          <a:prstGeom prst="rect">
            <a:avLst/>
          </a:prstGeom>
          <a:solidFill>
            <a:srgbClr val="00B05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4" name="Isosceles Triangle 1094"/>
          <p:cNvSpPr>
            <a:spLocks noChangeArrowheads="1"/>
          </p:cNvSpPr>
          <p:nvPr/>
        </p:nvSpPr>
        <p:spPr bwMode="gray">
          <a:xfrm flipH="1">
            <a:off x="4955006" y="1637209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5" name="Isosceles Triangle 969"/>
          <p:cNvSpPr>
            <a:spLocks noChangeArrowheads="1"/>
          </p:cNvSpPr>
          <p:nvPr/>
        </p:nvSpPr>
        <p:spPr bwMode="gray">
          <a:xfrm flipH="1">
            <a:off x="4159617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6" name="Isosceles Triangle 1080"/>
          <p:cNvSpPr>
            <a:spLocks noChangeArrowheads="1"/>
          </p:cNvSpPr>
          <p:nvPr/>
        </p:nvSpPr>
        <p:spPr bwMode="gray">
          <a:xfrm flipH="1">
            <a:off x="4955006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7" name="Isosceles Triangle 977"/>
          <p:cNvSpPr>
            <a:spLocks noChangeArrowheads="1"/>
          </p:cNvSpPr>
          <p:nvPr/>
        </p:nvSpPr>
        <p:spPr bwMode="gray">
          <a:xfrm flipH="1">
            <a:off x="4159617" y="2598166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8" name="Isosceles Triangle 1088"/>
          <p:cNvSpPr>
            <a:spLocks noChangeArrowheads="1"/>
          </p:cNvSpPr>
          <p:nvPr/>
        </p:nvSpPr>
        <p:spPr bwMode="gray">
          <a:xfrm flipH="1">
            <a:off x="4955006" y="259816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19" name="Isosceles Triangle 969"/>
          <p:cNvSpPr>
            <a:spLocks noChangeArrowheads="1"/>
          </p:cNvSpPr>
          <p:nvPr/>
        </p:nvSpPr>
        <p:spPr bwMode="gray">
          <a:xfrm flipH="1">
            <a:off x="4159617" y="5000558"/>
            <a:ext cx="740915" cy="409108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0" name="Isosceles Triangle 1080"/>
          <p:cNvSpPr>
            <a:spLocks noChangeArrowheads="1"/>
          </p:cNvSpPr>
          <p:nvPr/>
        </p:nvSpPr>
        <p:spPr bwMode="gray">
          <a:xfrm flipH="1">
            <a:off x="4955006" y="5000558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1" name="Isosceles Triangle 965"/>
          <p:cNvSpPr>
            <a:spLocks noChangeArrowheads="1"/>
          </p:cNvSpPr>
          <p:nvPr/>
        </p:nvSpPr>
        <p:spPr bwMode="gray">
          <a:xfrm flipH="1">
            <a:off x="4159617" y="3078644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2" name="Isosceles Triangle 1076"/>
          <p:cNvSpPr>
            <a:spLocks noChangeArrowheads="1"/>
          </p:cNvSpPr>
          <p:nvPr/>
        </p:nvSpPr>
        <p:spPr bwMode="gray">
          <a:xfrm flipH="1">
            <a:off x="4955006" y="3078644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3" name="Isosceles Triangle 854"/>
          <p:cNvSpPr>
            <a:spLocks noChangeArrowheads="1"/>
          </p:cNvSpPr>
          <p:nvPr/>
        </p:nvSpPr>
        <p:spPr bwMode="gray">
          <a:xfrm flipH="1" flipV="1">
            <a:off x="2563961" y="3559123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4" name="Isosceles Triangle 816"/>
          <p:cNvSpPr>
            <a:spLocks noChangeArrowheads="1"/>
          </p:cNvSpPr>
          <p:nvPr/>
        </p:nvSpPr>
        <p:spPr bwMode="gray">
          <a:xfrm flipH="1">
            <a:off x="3361790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5" name="Isosceles Triangle 813"/>
          <p:cNvSpPr>
            <a:spLocks noChangeArrowheads="1"/>
          </p:cNvSpPr>
          <p:nvPr/>
        </p:nvSpPr>
        <p:spPr bwMode="gray">
          <a:xfrm flipH="1">
            <a:off x="2563961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6" name="Isosceles Triangle 813"/>
          <p:cNvSpPr>
            <a:spLocks noChangeArrowheads="1"/>
          </p:cNvSpPr>
          <p:nvPr/>
        </p:nvSpPr>
        <p:spPr bwMode="gray">
          <a:xfrm flipH="1">
            <a:off x="3361790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7" name="Isosceles Triangle 804"/>
          <p:cNvSpPr>
            <a:spLocks noChangeArrowheads="1"/>
          </p:cNvSpPr>
          <p:nvPr/>
        </p:nvSpPr>
        <p:spPr bwMode="gray">
          <a:xfrm flipH="1">
            <a:off x="2563961" y="2117974"/>
            <a:ext cx="740915" cy="408529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8" name="Isosceles Triangle 804"/>
          <p:cNvSpPr>
            <a:spLocks noChangeArrowheads="1"/>
          </p:cNvSpPr>
          <p:nvPr/>
        </p:nvSpPr>
        <p:spPr bwMode="gray">
          <a:xfrm flipH="1">
            <a:off x="3361790" y="2117974"/>
            <a:ext cx="740915" cy="408529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29" name="Isosceles Triangle 799"/>
          <p:cNvSpPr>
            <a:spLocks noChangeArrowheads="1"/>
          </p:cNvSpPr>
          <p:nvPr/>
        </p:nvSpPr>
        <p:spPr bwMode="gray">
          <a:xfrm flipH="1">
            <a:off x="2563961" y="1637209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30" name="Isosceles Triangle 799"/>
          <p:cNvSpPr>
            <a:spLocks noChangeArrowheads="1"/>
          </p:cNvSpPr>
          <p:nvPr/>
        </p:nvSpPr>
        <p:spPr bwMode="gray">
          <a:xfrm flipH="1" flipV="1">
            <a:off x="3361790" y="1637209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31" name="Isosceles Triangle 822"/>
          <p:cNvSpPr>
            <a:spLocks noChangeArrowheads="1"/>
          </p:cNvSpPr>
          <p:nvPr/>
        </p:nvSpPr>
        <p:spPr bwMode="gray">
          <a:xfrm flipH="1">
            <a:off x="2563961" y="4520078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32" name="Isosceles Triangle 822"/>
          <p:cNvSpPr>
            <a:spLocks noChangeArrowheads="1"/>
          </p:cNvSpPr>
          <p:nvPr/>
        </p:nvSpPr>
        <p:spPr bwMode="gray">
          <a:xfrm flipH="1">
            <a:off x="3361790" y="4520078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33" name="Isosceles Triangle 810"/>
          <p:cNvSpPr>
            <a:spLocks noChangeArrowheads="1"/>
          </p:cNvSpPr>
          <p:nvPr/>
        </p:nvSpPr>
        <p:spPr bwMode="gray">
          <a:xfrm flipH="1">
            <a:off x="2563961" y="2598166"/>
            <a:ext cx="740915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37" name="Rectangle 436"/>
          <p:cNvSpPr>
            <a:spLocks noChangeArrowheads="1"/>
          </p:cNvSpPr>
          <p:nvPr/>
        </p:nvSpPr>
        <p:spPr bwMode="gray">
          <a:xfrm flipH="1">
            <a:off x="3361790" y="2598166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41" name="Isosceles Triangle 822"/>
          <p:cNvSpPr>
            <a:spLocks noChangeArrowheads="1"/>
          </p:cNvSpPr>
          <p:nvPr/>
        </p:nvSpPr>
        <p:spPr bwMode="gray">
          <a:xfrm flipH="1">
            <a:off x="2563961" y="500055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44" name="Isosceles Triangle 822"/>
          <p:cNvSpPr>
            <a:spLocks noChangeArrowheads="1"/>
          </p:cNvSpPr>
          <p:nvPr/>
        </p:nvSpPr>
        <p:spPr bwMode="gray">
          <a:xfrm flipH="1">
            <a:off x="3361790" y="5000558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45" name="Isosceles Triangle 828"/>
          <p:cNvSpPr>
            <a:spLocks noChangeArrowheads="1"/>
          </p:cNvSpPr>
          <p:nvPr/>
        </p:nvSpPr>
        <p:spPr bwMode="gray">
          <a:xfrm flipH="1">
            <a:off x="2563961" y="3078644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55" name="Isosceles Triangle 828"/>
          <p:cNvSpPr>
            <a:spLocks noChangeArrowheads="1"/>
          </p:cNvSpPr>
          <p:nvPr/>
        </p:nvSpPr>
        <p:spPr bwMode="gray">
          <a:xfrm flipH="1">
            <a:off x="3361790" y="3078644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56" name="Isosceles Triangle 973"/>
          <p:cNvSpPr>
            <a:spLocks noChangeArrowheads="1"/>
          </p:cNvSpPr>
          <p:nvPr/>
        </p:nvSpPr>
        <p:spPr bwMode="gray">
          <a:xfrm flipH="1">
            <a:off x="4159617" y="3559123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57" name="Isosceles Triangle 1084"/>
          <p:cNvSpPr>
            <a:spLocks noChangeArrowheads="1"/>
          </p:cNvSpPr>
          <p:nvPr/>
        </p:nvSpPr>
        <p:spPr bwMode="gray">
          <a:xfrm flipH="1">
            <a:off x="4955006" y="3559123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58" name="Isosceles Triangle 975"/>
          <p:cNvSpPr>
            <a:spLocks noChangeArrowheads="1"/>
          </p:cNvSpPr>
          <p:nvPr/>
        </p:nvSpPr>
        <p:spPr bwMode="gray">
          <a:xfrm flipH="1">
            <a:off x="4159617" y="4039600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59" name="Isosceles Triangle 1086"/>
          <p:cNvSpPr>
            <a:spLocks noChangeArrowheads="1"/>
          </p:cNvSpPr>
          <p:nvPr/>
        </p:nvSpPr>
        <p:spPr bwMode="gray">
          <a:xfrm flipH="1">
            <a:off x="4955006" y="4039600"/>
            <a:ext cx="740915" cy="40910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0" name="Isosceles Triangle 981"/>
          <p:cNvSpPr>
            <a:spLocks noChangeArrowheads="1"/>
          </p:cNvSpPr>
          <p:nvPr/>
        </p:nvSpPr>
        <p:spPr bwMode="gray">
          <a:xfrm flipH="1">
            <a:off x="4159617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1" name="Isosceles Triangle 1092"/>
          <p:cNvSpPr>
            <a:spLocks noChangeArrowheads="1"/>
          </p:cNvSpPr>
          <p:nvPr/>
        </p:nvSpPr>
        <p:spPr bwMode="gray">
          <a:xfrm flipH="1">
            <a:off x="4955006" y="2117686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2" name="Isosceles Triangle 983"/>
          <p:cNvSpPr>
            <a:spLocks noChangeArrowheads="1"/>
          </p:cNvSpPr>
          <p:nvPr/>
        </p:nvSpPr>
        <p:spPr bwMode="gray">
          <a:xfrm flipH="1">
            <a:off x="4159617" y="1637209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3" name="Isosceles Triangle 1094"/>
          <p:cNvSpPr>
            <a:spLocks noChangeArrowheads="1"/>
          </p:cNvSpPr>
          <p:nvPr/>
        </p:nvSpPr>
        <p:spPr bwMode="gray">
          <a:xfrm flipH="1">
            <a:off x="4955006" y="1637209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  <a:ex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4" name="Isosceles Triangle 969"/>
          <p:cNvSpPr>
            <a:spLocks noChangeArrowheads="1"/>
          </p:cNvSpPr>
          <p:nvPr/>
        </p:nvSpPr>
        <p:spPr bwMode="gray">
          <a:xfrm flipH="1">
            <a:off x="4159617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5" name="Isosceles Triangle 1080"/>
          <p:cNvSpPr>
            <a:spLocks noChangeArrowheads="1"/>
          </p:cNvSpPr>
          <p:nvPr/>
        </p:nvSpPr>
        <p:spPr bwMode="gray">
          <a:xfrm flipH="1">
            <a:off x="4955006" y="452007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6" name="Isosceles Triangle 977"/>
          <p:cNvSpPr>
            <a:spLocks noChangeArrowheads="1"/>
          </p:cNvSpPr>
          <p:nvPr/>
        </p:nvSpPr>
        <p:spPr bwMode="gray">
          <a:xfrm flipH="1">
            <a:off x="4159617" y="2598166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7" name="Isosceles Triangle 1088"/>
          <p:cNvSpPr>
            <a:spLocks noChangeArrowheads="1"/>
          </p:cNvSpPr>
          <p:nvPr/>
        </p:nvSpPr>
        <p:spPr bwMode="gray">
          <a:xfrm flipH="1">
            <a:off x="4955006" y="2598166"/>
            <a:ext cx="740915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8" name="Isosceles Triangle 969"/>
          <p:cNvSpPr>
            <a:spLocks noChangeArrowheads="1"/>
          </p:cNvSpPr>
          <p:nvPr/>
        </p:nvSpPr>
        <p:spPr bwMode="gray">
          <a:xfrm flipH="1">
            <a:off x="4159617" y="5000558"/>
            <a:ext cx="740915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69" name="Isosceles Triangle 1080"/>
          <p:cNvSpPr>
            <a:spLocks noChangeArrowheads="1"/>
          </p:cNvSpPr>
          <p:nvPr/>
        </p:nvSpPr>
        <p:spPr bwMode="gray">
          <a:xfrm flipH="1">
            <a:off x="4955006" y="5000558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0" name="Isosceles Triangle 965"/>
          <p:cNvSpPr>
            <a:spLocks noChangeArrowheads="1"/>
          </p:cNvSpPr>
          <p:nvPr/>
        </p:nvSpPr>
        <p:spPr bwMode="gray">
          <a:xfrm flipH="1">
            <a:off x="4159617" y="3078644"/>
            <a:ext cx="740915" cy="409108"/>
          </a:xfrm>
          <a:prstGeom prst="rect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1" name="Isosceles Triangle 1076"/>
          <p:cNvSpPr>
            <a:spLocks noChangeArrowheads="1"/>
          </p:cNvSpPr>
          <p:nvPr/>
        </p:nvSpPr>
        <p:spPr bwMode="gray">
          <a:xfrm flipH="1">
            <a:off x="4955006" y="3078644"/>
            <a:ext cx="740915" cy="409108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  <a:effectLst/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2" name="Isosceles Triangle 1113"/>
          <p:cNvSpPr>
            <a:spLocks noChangeArrowheads="1"/>
          </p:cNvSpPr>
          <p:nvPr/>
        </p:nvSpPr>
        <p:spPr bwMode="gray">
          <a:xfrm flipH="1">
            <a:off x="9744415" y="3559123"/>
            <a:ext cx="740913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473" name="Isosceles Triangle 1123"/>
          <p:cNvSpPr>
            <a:spLocks noChangeArrowheads="1"/>
          </p:cNvSpPr>
          <p:nvPr/>
        </p:nvSpPr>
        <p:spPr bwMode="gray">
          <a:xfrm flipH="1">
            <a:off x="9744415" y="4039600"/>
            <a:ext cx="740913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4" name="Isosceles Triangle 1129"/>
          <p:cNvSpPr>
            <a:spLocks noChangeArrowheads="1"/>
          </p:cNvSpPr>
          <p:nvPr/>
        </p:nvSpPr>
        <p:spPr bwMode="gray">
          <a:xfrm flipH="1">
            <a:off x="9744415" y="2117686"/>
            <a:ext cx="740913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5" name="Isosceles Triangle 1131"/>
          <p:cNvSpPr>
            <a:spLocks noChangeArrowheads="1"/>
          </p:cNvSpPr>
          <p:nvPr/>
        </p:nvSpPr>
        <p:spPr bwMode="gray">
          <a:xfrm flipH="1">
            <a:off x="9744423" y="1637209"/>
            <a:ext cx="740907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477" name="Isosceles Triangle 1117"/>
          <p:cNvSpPr>
            <a:spLocks noChangeArrowheads="1"/>
          </p:cNvSpPr>
          <p:nvPr/>
        </p:nvSpPr>
        <p:spPr bwMode="gray">
          <a:xfrm flipH="1">
            <a:off x="9744415" y="4520078"/>
            <a:ext cx="740913" cy="409108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79" name="Isosceles Triangle 1125"/>
          <p:cNvSpPr>
            <a:spLocks noChangeArrowheads="1"/>
          </p:cNvSpPr>
          <p:nvPr/>
        </p:nvSpPr>
        <p:spPr bwMode="gray">
          <a:xfrm flipH="1">
            <a:off x="9744423" y="2598166"/>
            <a:ext cx="740907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81" name="Isosceles Triangle 1117"/>
          <p:cNvSpPr>
            <a:spLocks noChangeArrowheads="1"/>
          </p:cNvSpPr>
          <p:nvPr/>
        </p:nvSpPr>
        <p:spPr bwMode="gray">
          <a:xfrm flipH="1">
            <a:off x="9744415" y="5000558"/>
            <a:ext cx="740913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483" name="Isosceles Triangle 1113"/>
          <p:cNvSpPr>
            <a:spLocks noChangeArrowheads="1"/>
          </p:cNvSpPr>
          <p:nvPr/>
        </p:nvSpPr>
        <p:spPr bwMode="gray">
          <a:xfrm flipH="1">
            <a:off x="9744415" y="3078644"/>
            <a:ext cx="740913" cy="409108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485" name="Rectangle 10"/>
          <p:cNvSpPr txBox="1">
            <a:spLocks noChangeArrowheads="1"/>
          </p:cNvSpPr>
          <p:nvPr/>
        </p:nvSpPr>
        <p:spPr bwMode="gray">
          <a:xfrm>
            <a:off x="10105846" y="3773046"/>
            <a:ext cx="354419" cy="187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>
                <a:solidFill>
                  <a:schemeClr val="bg1"/>
                </a:solidFill>
                <a:latin typeface="+mn-lt"/>
                <a:cs typeface="Arial" charset="0"/>
              </a:rPr>
              <a:t>8.6</a:t>
            </a:r>
            <a:endParaRPr lang="en-US" sz="1200" b="1" kern="0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487" name="Rectangle 10"/>
          <p:cNvSpPr txBox="1">
            <a:spLocks noChangeArrowheads="1"/>
          </p:cNvSpPr>
          <p:nvPr/>
        </p:nvSpPr>
        <p:spPr bwMode="gray">
          <a:xfrm>
            <a:off x="10105846" y="4253523"/>
            <a:ext cx="3544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77888" eaLnBrk="1" hangingPunct="1">
              <a:buClr>
                <a:schemeClr val="tx2"/>
              </a:buClr>
              <a:defRPr sz="1200">
                <a:solidFill>
                  <a:srgbClr val="626365"/>
                </a:solidFill>
                <a:latin typeface="+mn-lt"/>
                <a:cs typeface="Arial" charset="0"/>
              </a:defRPr>
            </a:lvl1pPr>
            <a:lvl2pPr marL="728663" indent="-280988" defTabSz="877888" eaLnBrk="0" hangingPunct="0"/>
            <a:lvl3pPr marL="1120775" indent="-225425" defTabSz="877888" eaLnBrk="0" hangingPunct="0"/>
            <a:lvl4pPr marL="1568450" indent="-223838" defTabSz="877888" eaLnBrk="0" hangingPunct="0"/>
            <a:lvl5pPr marL="2016125" indent="-223838" defTabSz="877888" eaLnBrk="0" hangingPunct="0"/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b="1" kern="0" dirty="0">
                <a:solidFill>
                  <a:schemeClr val="bg1"/>
                </a:solidFill>
              </a:rPr>
              <a:t>6.1</a:t>
            </a:r>
          </a:p>
        </p:txBody>
      </p:sp>
      <p:sp>
        <p:nvSpPr>
          <p:cNvPr id="489" name="Rectangle 10"/>
          <p:cNvSpPr txBox="1">
            <a:spLocks noChangeArrowheads="1"/>
          </p:cNvSpPr>
          <p:nvPr/>
        </p:nvSpPr>
        <p:spPr bwMode="gray">
          <a:xfrm>
            <a:off x="10129455" y="2358019"/>
            <a:ext cx="33081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5.3</a:t>
            </a:r>
          </a:p>
        </p:txBody>
      </p:sp>
      <p:sp>
        <p:nvSpPr>
          <p:cNvPr id="491" name="Rectangle 10"/>
          <p:cNvSpPr txBox="1">
            <a:spLocks noChangeArrowheads="1"/>
          </p:cNvSpPr>
          <p:nvPr/>
        </p:nvSpPr>
        <p:spPr bwMode="gray">
          <a:xfrm>
            <a:off x="10129455" y="1877543"/>
            <a:ext cx="33081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9.4</a:t>
            </a:r>
          </a:p>
        </p:txBody>
      </p:sp>
      <p:sp>
        <p:nvSpPr>
          <p:cNvPr id="493" name="Rectangle 10"/>
          <p:cNvSpPr txBox="1">
            <a:spLocks noChangeArrowheads="1"/>
          </p:cNvSpPr>
          <p:nvPr/>
        </p:nvSpPr>
        <p:spPr bwMode="gray">
          <a:xfrm>
            <a:off x="10105846" y="4734003"/>
            <a:ext cx="3544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77888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 sz="1000" b="1" kern="0">
                <a:solidFill>
                  <a:schemeClr val="accent6"/>
                </a:solidFill>
                <a:latin typeface="Calibri" panose="020F0502020204030204" pitchFamily="34" charset="0"/>
                <a:cs typeface="Arial" charset="0"/>
              </a:defRPr>
            </a:lvl1pPr>
            <a:lvl2pPr marL="728663" indent="-280988" defTabSz="877888" eaLnBrk="0" hangingPunct="0"/>
            <a:lvl3pPr marL="1120775" indent="-225425" defTabSz="877888" eaLnBrk="0" hangingPunct="0"/>
            <a:lvl4pPr marL="1568450" indent="-223838" defTabSz="877888" eaLnBrk="0" hangingPunct="0"/>
            <a:lvl5pPr marL="2016125" indent="-223838" defTabSz="877888" eaLnBrk="0" hangingPunct="0"/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  <a:latin typeface="+mn-lt"/>
              </a:rPr>
              <a:t>8.9</a:t>
            </a:r>
          </a:p>
        </p:txBody>
      </p:sp>
      <p:sp>
        <p:nvSpPr>
          <p:cNvPr id="495" name="Rectangle 10"/>
          <p:cNvSpPr txBox="1">
            <a:spLocks noChangeArrowheads="1"/>
          </p:cNvSpPr>
          <p:nvPr/>
        </p:nvSpPr>
        <p:spPr bwMode="gray">
          <a:xfrm>
            <a:off x="10105846" y="2812088"/>
            <a:ext cx="3544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32.4</a:t>
            </a:r>
          </a:p>
        </p:txBody>
      </p:sp>
      <p:sp>
        <p:nvSpPr>
          <p:cNvPr id="497" name="Rectangle 10"/>
          <p:cNvSpPr txBox="1">
            <a:spLocks noChangeArrowheads="1"/>
          </p:cNvSpPr>
          <p:nvPr/>
        </p:nvSpPr>
        <p:spPr bwMode="gray">
          <a:xfrm>
            <a:off x="10105846" y="5214481"/>
            <a:ext cx="3544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4.3</a:t>
            </a:r>
          </a:p>
        </p:txBody>
      </p:sp>
      <p:sp>
        <p:nvSpPr>
          <p:cNvPr id="498" name="Rectangle 10"/>
          <p:cNvSpPr txBox="1">
            <a:spLocks noChangeArrowheads="1"/>
          </p:cNvSpPr>
          <p:nvPr/>
        </p:nvSpPr>
        <p:spPr bwMode="gray">
          <a:xfrm>
            <a:off x="10105846" y="3292565"/>
            <a:ext cx="35441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2.9</a:t>
            </a:r>
          </a:p>
        </p:txBody>
      </p:sp>
      <p:sp>
        <p:nvSpPr>
          <p:cNvPr id="499" name="Rectangle 10"/>
          <p:cNvSpPr txBox="1">
            <a:spLocks noChangeArrowheads="1"/>
          </p:cNvSpPr>
          <p:nvPr/>
        </p:nvSpPr>
        <p:spPr bwMode="gray">
          <a:xfrm>
            <a:off x="9815584" y="3575032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6.0</a:t>
            </a:r>
          </a:p>
        </p:txBody>
      </p:sp>
      <p:sp>
        <p:nvSpPr>
          <p:cNvPr id="500" name="Rectangle 10"/>
          <p:cNvSpPr txBox="1">
            <a:spLocks noChangeArrowheads="1"/>
          </p:cNvSpPr>
          <p:nvPr/>
        </p:nvSpPr>
        <p:spPr bwMode="gray">
          <a:xfrm>
            <a:off x="9797135" y="4071362"/>
            <a:ext cx="236019" cy="184666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342900" indent="-342900" algn="ctr" defTabSz="895350">
              <a:defRPr sz="1000">
                <a:solidFill>
                  <a:srgbClr val="000000"/>
                </a:solidFill>
                <a:latin typeface="Calibri" panose="020F0502020204030204" pitchFamily="34" charset="0"/>
                <a:cs typeface="Arial" charset="0"/>
              </a:defRPr>
            </a:lvl1pPr>
          </a:lstStyle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5.6</a:t>
            </a:r>
          </a:p>
        </p:txBody>
      </p:sp>
      <p:sp>
        <p:nvSpPr>
          <p:cNvPr id="501" name="Rectangle 10"/>
          <p:cNvSpPr txBox="1">
            <a:spLocks noChangeArrowheads="1"/>
          </p:cNvSpPr>
          <p:nvPr/>
        </p:nvSpPr>
        <p:spPr bwMode="gray">
          <a:xfrm>
            <a:off x="9815584" y="2149446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4.6</a:t>
            </a:r>
          </a:p>
        </p:txBody>
      </p:sp>
      <p:sp>
        <p:nvSpPr>
          <p:cNvPr id="502" name="Rectangle 10"/>
          <p:cNvSpPr txBox="1">
            <a:spLocks noChangeArrowheads="1"/>
          </p:cNvSpPr>
          <p:nvPr/>
        </p:nvSpPr>
        <p:spPr bwMode="gray">
          <a:xfrm>
            <a:off x="9815585" y="1668969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2.7</a:t>
            </a:r>
          </a:p>
        </p:txBody>
      </p:sp>
      <p:sp>
        <p:nvSpPr>
          <p:cNvPr id="503" name="Rectangle 10"/>
          <p:cNvSpPr txBox="1">
            <a:spLocks noChangeArrowheads="1"/>
          </p:cNvSpPr>
          <p:nvPr/>
        </p:nvSpPr>
        <p:spPr bwMode="gray">
          <a:xfrm>
            <a:off x="9815584" y="4535994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77888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 sz="1000" b="1" kern="0">
                <a:solidFill>
                  <a:schemeClr val="accent6"/>
                </a:solidFill>
                <a:latin typeface="Calibri" panose="020F0502020204030204" pitchFamily="34" charset="0"/>
                <a:cs typeface="Arial" charset="0"/>
              </a:defRPr>
            </a:lvl1pPr>
            <a:lvl2pPr marL="728663" indent="-280988" defTabSz="877888" eaLnBrk="0" hangingPunct="0"/>
            <a:lvl3pPr marL="1120775" indent="-225425" defTabSz="877888" eaLnBrk="0" hangingPunct="0"/>
            <a:lvl4pPr marL="1568450" indent="-223838" defTabSz="877888" eaLnBrk="0" hangingPunct="0"/>
            <a:lvl5pPr marL="2016125" indent="-223838" defTabSz="877888" eaLnBrk="0" hangingPunct="0"/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200" dirty="0">
                <a:solidFill>
                  <a:schemeClr val="bg1"/>
                </a:solidFill>
                <a:latin typeface="+mn-lt"/>
              </a:rPr>
              <a:t>8.2</a:t>
            </a:r>
          </a:p>
        </p:txBody>
      </p:sp>
      <p:sp>
        <p:nvSpPr>
          <p:cNvPr id="504" name="Rectangle 10"/>
          <p:cNvSpPr txBox="1">
            <a:spLocks noChangeArrowheads="1"/>
          </p:cNvSpPr>
          <p:nvPr/>
        </p:nvSpPr>
        <p:spPr bwMode="gray">
          <a:xfrm>
            <a:off x="9815584" y="2614078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30.7</a:t>
            </a:r>
          </a:p>
        </p:txBody>
      </p:sp>
      <p:sp>
        <p:nvSpPr>
          <p:cNvPr id="505" name="Rectangle 10"/>
          <p:cNvSpPr txBox="1">
            <a:spLocks noChangeArrowheads="1"/>
          </p:cNvSpPr>
          <p:nvPr/>
        </p:nvSpPr>
        <p:spPr bwMode="gray">
          <a:xfrm>
            <a:off x="9815584" y="5016472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6.0</a:t>
            </a:r>
          </a:p>
        </p:txBody>
      </p:sp>
      <p:sp>
        <p:nvSpPr>
          <p:cNvPr id="506" name="Rectangle 10"/>
          <p:cNvSpPr txBox="1">
            <a:spLocks noChangeArrowheads="1"/>
          </p:cNvSpPr>
          <p:nvPr/>
        </p:nvSpPr>
        <p:spPr bwMode="gray">
          <a:xfrm>
            <a:off x="9815584" y="3094556"/>
            <a:ext cx="33081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2.9</a:t>
            </a:r>
          </a:p>
        </p:txBody>
      </p:sp>
      <p:cxnSp>
        <p:nvCxnSpPr>
          <p:cNvPr id="507" name="Straight Connector 506"/>
          <p:cNvCxnSpPr>
            <a:cxnSpLocks/>
          </p:cNvCxnSpPr>
          <p:nvPr/>
        </p:nvCxnSpPr>
        <p:spPr>
          <a:xfrm flipV="1">
            <a:off x="9744423" y="1637209"/>
            <a:ext cx="740907" cy="4091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8" name="Straight Connector 507"/>
          <p:cNvCxnSpPr>
            <a:cxnSpLocks/>
          </p:cNvCxnSpPr>
          <p:nvPr/>
        </p:nvCxnSpPr>
        <p:spPr>
          <a:xfrm flipV="1">
            <a:off x="9744423" y="2117686"/>
            <a:ext cx="740907" cy="409108"/>
          </a:xfrm>
          <a:prstGeom prst="line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</p:cxnSp>
      <p:cxnSp>
        <p:nvCxnSpPr>
          <p:cNvPr id="509" name="Straight Connector 508"/>
          <p:cNvCxnSpPr>
            <a:cxnSpLocks/>
          </p:cNvCxnSpPr>
          <p:nvPr/>
        </p:nvCxnSpPr>
        <p:spPr>
          <a:xfrm flipV="1">
            <a:off x="9744423" y="2598165"/>
            <a:ext cx="740907" cy="409108"/>
          </a:xfrm>
          <a:prstGeom prst="lin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</p:cxnSp>
      <p:cxnSp>
        <p:nvCxnSpPr>
          <p:cNvPr id="510" name="Straight Connector 509"/>
          <p:cNvCxnSpPr>
            <a:cxnSpLocks/>
          </p:cNvCxnSpPr>
          <p:nvPr/>
        </p:nvCxnSpPr>
        <p:spPr>
          <a:xfrm flipV="1">
            <a:off x="9744423" y="3078641"/>
            <a:ext cx="740907" cy="409108"/>
          </a:xfrm>
          <a:prstGeom prst="line">
            <a:avLst/>
          </a:prstGeom>
          <a:solidFill>
            <a:srgbClr val="F7A797"/>
          </a:solidFill>
          <a:ln>
            <a:solidFill>
              <a:schemeClr val="bg1"/>
            </a:solidFill>
          </a:ln>
          <a:effectLst/>
        </p:spPr>
      </p:cxnSp>
      <p:cxnSp>
        <p:nvCxnSpPr>
          <p:cNvPr id="511" name="Straight Connector 510"/>
          <p:cNvCxnSpPr>
            <a:cxnSpLocks/>
          </p:cNvCxnSpPr>
          <p:nvPr/>
        </p:nvCxnSpPr>
        <p:spPr>
          <a:xfrm flipV="1">
            <a:off x="9744423" y="3559121"/>
            <a:ext cx="740907" cy="4091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2" name="Straight Connector 511"/>
          <p:cNvCxnSpPr>
            <a:cxnSpLocks/>
          </p:cNvCxnSpPr>
          <p:nvPr/>
        </p:nvCxnSpPr>
        <p:spPr>
          <a:xfrm flipV="1">
            <a:off x="9744423" y="4039598"/>
            <a:ext cx="740907" cy="409108"/>
          </a:xfrm>
          <a:prstGeom prst="lin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</p:cxnSp>
      <p:cxnSp>
        <p:nvCxnSpPr>
          <p:cNvPr id="513" name="Straight Connector 512"/>
          <p:cNvCxnSpPr>
            <a:cxnSpLocks/>
          </p:cNvCxnSpPr>
          <p:nvPr/>
        </p:nvCxnSpPr>
        <p:spPr>
          <a:xfrm flipV="1">
            <a:off x="9744423" y="4520077"/>
            <a:ext cx="740907" cy="409108"/>
          </a:xfrm>
          <a:prstGeom prst="line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</p:cxnSp>
      <p:cxnSp>
        <p:nvCxnSpPr>
          <p:cNvPr id="514" name="Straight Connector 513"/>
          <p:cNvCxnSpPr>
            <a:cxnSpLocks/>
          </p:cNvCxnSpPr>
          <p:nvPr/>
        </p:nvCxnSpPr>
        <p:spPr>
          <a:xfrm flipV="1">
            <a:off x="9744423" y="5000555"/>
            <a:ext cx="740907" cy="4091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6" name="Isosceles Triangle 1109"/>
          <p:cNvSpPr>
            <a:spLocks noChangeArrowheads="1"/>
          </p:cNvSpPr>
          <p:nvPr/>
        </p:nvSpPr>
        <p:spPr bwMode="gray">
          <a:xfrm flipH="1">
            <a:off x="9744415" y="5481027"/>
            <a:ext cx="740913" cy="409108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517" name="Rectangle 10"/>
          <p:cNvSpPr txBox="1">
            <a:spLocks noChangeArrowheads="1"/>
          </p:cNvSpPr>
          <p:nvPr/>
        </p:nvSpPr>
        <p:spPr bwMode="gray">
          <a:xfrm>
            <a:off x="9911351" y="5704738"/>
            <a:ext cx="51847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108.1</a:t>
            </a:r>
          </a:p>
        </p:txBody>
      </p:sp>
      <p:sp>
        <p:nvSpPr>
          <p:cNvPr id="518" name="Rectangle 10"/>
          <p:cNvSpPr txBox="1">
            <a:spLocks noChangeArrowheads="1"/>
          </p:cNvSpPr>
          <p:nvPr/>
        </p:nvSpPr>
        <p:spPr bwMode="gray">
          <a:xfrm>
            <a:off x="9815584" y="5488627"/>
            <a:ext cx="33081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96.6</a:t>
            </a:r>
          </a:p>
        </p:txBody>
      </p:sp>
      <p:cxnSp>
        <p:nvCxnSpPr>
          <p:cNvPr id="519" name="Straight Connector 518"/>
          <p:cNvCxnSpPr>
            <a:cxnSpLocks/>
          </p:cNvCxnSpPr>
          <p:nvPr/>
        </p:nvCxnSpPr>
        <p:spPr>
          <a:xfrm flipV="1">
            <a:off x="9744423" y="5481027"/>
            <a:ext cx="740907" cy="4091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Isosceles Triangle 834"/>
          <p:cNvSpPr>
            <a:spLocks noChangeArrowheads="1"/>
          </p:cNvSpPr>
          <p:nvPr/>
        </p:nvSpPr>
        <p:spPr bwMode="gray">
          <a:xfrm flipH="1">
            <a:off x="2571531" y="5481034"/>
            <a:ext cx="729736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22" name="Isosceles Triangle 834"/>
          <p:cNvSpPr>
            <a:spLocks noChangeArrowheads="1"/>
          </p:cNvSpPr>
          <p:nvPr/>
        </p:nvSpPr>
        <p:spPr bwMode="gray">
          <a:xfrm flipH="1">
            <a:off x="2571531" y="5481034"/>
            <a:ext cx="729736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x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23" name="Rectangle 10"/>
          <p:cNvSpPr txBox="1">
            <a:spLocks noChangeArrowheads="1"/>
          </p:cNvSpPr>
          <p:nvPr/>
        </p:nvSpPr>
        <p:spPr bwMode="gray">
          <a:xfrm>
            <a:off x="2858646" y="5704745"/>
            <a:ext cx="42367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15.5 </a:t>
            </a:r>
          </a:p>
        </p:txBody>
      </p:sp>
      <p:cxnSp>
        <p:nvCxnSpPr>
          <p:cNvPr id="524" name="Straight Connector 523"/>
          <p:cNvCxnSpPr>
            <a:cxnSpLocks/>
          </p:cNvCxnSpPr>
          <p:nvPr/>
        </p:nvCxnSpPr>
        <p:spPr>
          <a:xfrm flipV="1">
            <a:off x="2563961" y="5485093"/>
            <a:ext cx="740915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Rectangle 10"/>
          <p:cNvSpPr txBox="1">
            <a:spLocks noChangeArrowheads="1"/>
          </p:cNvSpPr>
          <p:nvPr/>
        </p:nvSpPr>
        <p:spPr bwMode="gray">
          <a:xfrm>
            <a:off x="2587095" y="5504481"/>
            <a:ext cx="3308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1.6</a:t>
            </a:r>
          </a:p>
        </p:txBody>
      </p:sp>
      <p:sp>
        <p:nvSpPr>
          <p:cNvPr id="528" name="Isosceles Triangle 834"/>
          <p:cNvSpPr>
            <a:spLocks noChangeArrowheads="1"/>
          </p:cNvSpPr>
          <p:nvPr/>
        </p:nvSpPr>
        <p:spPr bwMode="gray">
          <a:xfrm flipH="1">
            <a:off x="3383139" y="5481032"/>
            <a:ext cx="719565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29" name="Isosceles Triangle 834"/>
          <p:cNvSpPr>
            <a:spLocks noChangeArrowheads="1"/>
          </p:cNvSpPr>
          <p:nvPr/>
        </p:nvSpPr>
        <p:spPr bwMode="gray">
          <a:xfrm flipH="1">
            <a:off x="3383139" y="5481032"/>
            <a:ext cx="719565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30" name="Rectangle 10"/>
          <p:cNvSpPr txBox="1">
            <a:spLocks noChangeArrowheads="1"/>
          </p:cNvSpPr>
          <p:nvPr/>
        </p:nvSpPr>
        <p:spPr bwMode="gray">
          <a:xfrm>
            <a:off x="3741205" y="5704744"/>
            <a:ext cx="31940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7.1 </a:t>
            </a:r>
          </a:p>
        </p:txBody>
      </p:sp>
      <p:cxnSp>
        <p:nvCxnSpPr>
          <p:cNvPr id="531" name="Straight Connector 530"/>
          <p:cNvCxnSpPr>
            <a:cxnSpLocks/>
          </p:cNvCxnSpPr>
          <p:nvPr/>
        </p:nvCxnSpPr>
        <p:spPr>
          <a:xfrm flipV="1">
            <a:off x="3361790" y="5485088"/>
            <a:ext cx="735298" cy="40911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2" name="Rectangle 10"/>
          <p:cNvSpPr txBox="1">
            <a:spLocks noChangeArrowheads="1"/>
          </p:cNvSpPr>
          <p:nvPr/>
        </p:nvSpPr>
        <p:spPr bwMode="gray">
          <a:xfrm>
            <a:off x="3414491" y="5504479"/>
            <a:ext cx="271556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4.2</a:t>
            </a:r>
          </a:p>
        </p:txBody>
      </p:sp>
      <p:sp>
        <p:nvSpPr>
          <p:cNvPr id="534" name="Isosceles Triangle 998"/>
          <p:cNvSpPr>
            <a:spLocks noChangeArrowheads="1"/>
          </p:cNvSpPr>
          <p:nvPr/>
        </p:nvSpPr>
        <p:spPr bwMode="gray">
          <a:xfrm flipH="1">
            <a:off x="8950921" y="5481034"/>
            <a:ext cx="736578" cy="409109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txBody>
          <a:bodyPr wrap="none" lIns="0" tIns="0" rIns="0" bIns="0" anchor="ctr"/>
          <a:lstStyle/>
          <a:p>
            <a:pPr marL="257175" indent="-257175" algn="ctr" defTabSz="671513"/>
            <a:endParaRPr lang="en-US" sz="1200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35" name="Rectangle 10"/>
          <p:cNvSpPr txBox="1">
            <a:spLocks noChangeArrowheads="1"/>
          </p:cNvSpPr>
          <p:nvPr/>
        </p:nvSpPr>
        <p:spPr bwMode="gray">
          <a:xfrm>
            <a:off x="9247475" y="5704745"/>
            <a:ext cx="42119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77888" eaLnBrk="1" hangingPunct="1">
              <a:buClr>
                <a:schemeClr val="tx2"/>
              </a:buClr>
              <a:defRPr sz="1200">
                <a:solidFill>
                  <a:srgbClr val="626365"/>
                </a:solidFill>
                <a:latin typeface="+mn-lt"/>
                <a:cs typeface="Arial" charset="0"/>
              </a:defRPr>
            </a:lvl1pPr>
            <a:lvl2pPr marL="728663" indent="-280988" defTabSz="877888" eaLnBrk="0" hangingPunct="0"/>
            <a:lvl3pPr marL="1120775" indent="-225425" defTabSz="877888" eaLnBrk="0" hangingPunct="0"/>
            <a:lvl4pPr marL="1568450" indent="-223838" defTabSz="877888" eaLnBrk="0" hangingPunct="0"/>
            <a:lvl5pPr marL="2016125" indent="-223838" defTabSz="877888" eaLnBrk="0" hangingPunct="0"/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b="1" kern="0" dirty="0">
                <a:solidFill>
                  <a:schemeClr val="bg1"/>
                </a:solidFill>
              </a:rPr>
              <a:t> 22.3 </a:t>
            </a:r>
          </a:p>
        </p:txBody>
      </p:sp>
      <p:cxnSp>
        <p:nvCxnSpPr>
          <p:cNvPr id="536" name="Straight Connector 535"/>
          <p:cNvCxnSpPr>
            <a:cxnSpLocks/>
          </p:cNvCxnSpPr>
          <p:nvPr/>
        </p:nvCxnSpPr>
        <p:spPr>
          <a:xfrm flipV="1">
            <a:off x="8946585" y="5485093"/>
            <a:ext cx="736574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7" name="Rectangle 10"/>
          <p:cNvSpPr txBox="1">
            <a:spLocks noChangeArrowheads="1"/>
          </p:cNvSpPr>
          <p:nvPr/>
        </p:nvSpPr>
        <p:spPr bwMode="gray">
          <a:xfrm>
            <a:off x="9000680" y="5504481"/>
            <a:ext cx="32887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22.4</a:t>
            </a:r>
          </a:p>
        </p:txBody>
      </p:sp>
      <p:sp>
        <p:nvSpPr>
          <p:cNvPr id="539" name="Isosceles Triangle 1043"/>
          <p:cNvSpPr>
            <a:spLocks noChangeArrowheads="1"/>
          </p:cNvSpPr>
          <p:nvPr/>
        </p:nvSpPr>
        <p:spPr bwMode="gray">
          <a:xfrm flipH="1">
            <a:off x="8153056" y="5481034"/>
            <a:ext cx="736616" cy="409109"/>
          </a:xfrm>
          <a:prstGeom prst="rect">
            <a:avLst/>
          </a:prstGeom>
          <a:solidFill>
            <a:srgbClr val="FF000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40" name="Rectangle 10"/>
          <p:cNvSpPr txBox="1">
            <a:spLocks noChangeArrowheads="1"/>
          </p:cNvSpPr>
          <p:nvPr/>
        </p:nvSpPr>
        <p:spPr bwMode="gray">
          <a:xfrm>
            <a:off x="8449621" y="5704745"/>
            <a:ext cx="42122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13.3 </a:t>
            </a:r>
          </a:p>
        </p:txBody>
      </p:sp>
      <p:cxnSp>
        <p:nvCxnSpPr>
          <p:cNvPr id="541" name="Straight Connector 540"/>
          <p:cNvCxnSpPr>
            <a:cxnSpLocks/>
          </p:cNvCxnSpPr>
          <p:nvPr/>
        </p:nvCxnSpPr>
        <p:spPr>
          <a:xfrm flipV="1">
            <a:off x="8148757" y="5485093"/>
            <a:ext cx="736620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Rectangle 10"/>
          <p:cNvSpPr txBox="1">
            <a:spLocks noChangeArrowheads="1"/>
          </p:cNvSpPr>
          <p:nvPr/>
        </p:nvSpPr>
        <p:spPr bwMode="gray">
          <a:xfrm>
            <a:off x="8202819" y="5504481"/>
            <a:ext cx="32890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15.0</a:t>
            </a:r>
          </a:p>
        </p:txBody>
      </p:sp>
      <p:sp>
        <p:nvSpPr>
          <p:cNvPr id="544" name="Isosceles Triangle 858"/>
          <p:cNvSpPr>
            <a:spLocks noChangeArrowheads="1"/>
          </p:cNvSpPr>
          <p:nvPr/>
        </p:nvSpPr>
        <p:spPr bwMode="gray">
          <a:xfrm flipH="1">
            <a:off x="7357182" y="5481034"/>
            <a:ext cx="734662" cy="409109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545" name="Rectangle 10"/>
          <p:cNvSpPr txBox="1">
            <a:spLocks noChangeArrowheads="1"/>
          </p:cNvSpPr>
          <p:nvPr/>
        </p:nvSpPr>
        <p:spPr bwMode="gray">
          <a:xfrm>
            <a:off x="7699960" y="5704745"/>
            <a:ext cx="32610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 5.3 </a:t>
            </a:r>
          </a:p>
        </p:txBody>
      </p:sp>
      <p:cxnSp>
        <p:nvCxnSpPr>
          <p:cNvPr id="546" name="Straight Connector 545"/>
          <p:cNvCxnSpPr>
            <a:cxnSpLocks/>
          </p:cNvCxnSpPr>
          <p:nvPr/>
        </p:nvCxnSpPr>
        <p:spPr>
          <a:xfrm flipV="1">
            <a:off x="7350929" y="5485093"/>
            <a:ext cx="734658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7" name="Rectangle 10"/>
          <p:cNvSpPr txBox="1">
            <a:spLocks noChangeArrowheads="1"/>
          </p:cNvSpPr>
          <p:nvPr/>
        </p:nvSpPr>
        <p:spPr bwMode="gray">
          <a:xfrm>
            <a:off x="7432416" y="5504481"/>
            <a:ext cx="23402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4.7</a:t>
            </a:r>
          </a:p>
        </p:txBody>
      </p:sp>
      <p:sp>
        <p:nvSpPr>
          <p:cNvPr id="549" name="Isosceles Triangle 895"/>
          <p:cNvSpPr>
            <a:spLocks noChangeArrowheads="1"/>
          </p:cNvSpPr>
          <p:nvPr/>
        </p:nvSpPr>
        <p:spPr bwMode="gray">
          <a:xfrm flipH="1">
            <a:off x="6555549" y="5481034"/>
            <a:ext cx="734449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50" name="Rectangle 10"/>
          <p:cNvSpPr txBox="1">
            <a:spLocks noChangeArrowheads="1"/>
          </p:cNvSpPr>
          <p:nvPr/>
        </p:nvSpPr>
        <p:spPr bwMode="gray">
          <a:xfrm>
            <a:off x="6874037" y="5704745"/>
            <a:ext cx="41997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11.1</a:t>
            </a:r>
          </a:p>
        </p:txBody>
      </p:sp>
      <p:cxnSp>
        <p:nvCxnSpPr>
          <p:cNvPr id="551" name="Straight Connector 550"/>
          <p:cNvCxnSpPr>
            <a:cxnSpLocks/>
          </p:cNvCxnSpPr>
          <p:nvPr/>
        </p:nvCxnSpPr>
        <p:spPr>
          <a:xfrm flipV="1">
            <a:off x="6553101" y="5485093"/>
            <a:ext cx="734444" cy="409109"/>
          </a:xfrm>
          <a:prstGeom prst="line">
            <a:avLst/>
          </a:prstGeom>
          <a:solidFill>
            <a:srgbClr val="CCFFCC"/>
          </a:solidFill>
          <a:ln w="9525">
            <a:solidFill>
              <a:schemeClr val="bg1"/>
            </a:solidFill>
            <a:miter lim="800000"/>
            <a:headEnd/>
            <a:tailEnd/>
          </a:ln>
        </p:spPr>
      </p:cxnSp>
      <p:sp>
        <p:nvSpPr>
          <p:cNvPr id="552" name="Rectangle 10"/>
          <p:cNvSpPr txBox="1">
            <a:spLocks noChangeArrowheads="1"/>
          </p:cNvSpPr>
          <p:nvPr/>
        </p:nvSpPr>
        <p:spPr bwMode="gray">
          <a:xfrm>
            <a:off x="6630763" y="5504481"/>
            <a:ext cx="233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9.4</a:t>
            </a:r>
          </a:p>
        </p:txBody>
      </p:sp>
      <p:sp>
        <p:nvSpPr>
          <p:cNvPr id="554" name="Isosceles Triangle 924"/>
          <p:cNvSpPr>
            <a:spLocks noChangeArrowheads="1"/>
          </p:cNvSpPr>
          <p:nvPr/>
        </p:nvSpPr>
        <p:spPr bwMode="gray">
          <a:xfrm flipH="1">
            <a:off x="5760725" y="5481034"/>
            <a:ext cx="730722" cy="409109"/>
          </a:xfrm>
          <a:prstGeom prst="rect">
            <a:avLst/>
          </a:prstGeom>
          <a:solidFill>
            <a:srgbClr val="CCFFCC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555" name="Rectangle 10"/>
          <p:cNvSpPr txBox="1">
            <a:spLocks noChangeArrowheads="1"/>
          </p:cNvSpPr>
          <p:nvPr/>
        </p:nvSpPr>
        <p:spPr bwMode="gray">
          <a:xfrm>
            <a:off x="6077223" y="5704745"/>
            <a:ext cx="418222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77888" eaLnBrk="1" hangingPunct="1">
              <a:buClr>
                <a:schemeClr val="tx2"/>
              </a:buClr>
              <a:defRPr sz="1200">
                <a:solidFill>
                  <a:srgbClr val="626365"/>
                </a:solidFill>
                <a:latin typeface="+mn-lt"/>
                <a:cs typeface="Arial" charset="0"/>
              </a:defRPr>
            </a:lvl1pPr>
            <a:lvl2pPr marL="728663" indent="-280988" defTabSz="877888" eaLnBrk="0" hangingPunct="0"/>
            <a:lvl3pPr marL="1120775" indent="-225425" defTabSz="877888" eaLnBrk="0" hangingPunct="0"/>
            <a:lvl4pPr marL="1568450" indent="-223838" defTabSz="877888" eaLnBrk="0" hangingPunct="0"/>
            <a:lvl5pPr marL="2016125" indent="-223838" defTabSz="877888" eaLnBrk="0" hangingPunct="0"/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b="1" kern="0" dirty="0">
                <a:solidFill>
                  <a:schemeClr val="bg1"/>
                </a:solidFill>
              </a:rPr>
              <a:t> </a:t>
            </a:r>
            <a:r>
              <a:rPr lang="en-US" b="1" kern="0" dirty="0">
                <a:solidFill>
                  <a:schemeClr val="bg1">
                    <a:lumMod val="50000"/>
                  </a:schemeClr>
                </a:solidFill>
              </a:rPr>
              <a:t>17.6 </a:t>
            </a:r>
          </a:p>
        </p:txBody>
      </p:sp>
      <p:cxnSp>
        <p:nvCxnSpPr>
          <p:cNvPr id="556" name="Straight Connector 555"/>
          <p:cNvCxnSpPr>
            <a:cxnSpLocks/>
          </p:cNvCxnSpPr>
          <p:nvPr/>
        </p:nvCxnSpPr>
        <p:spPr>
          <a:xfrm flipV="1">
            <a:off x="5754530" y="5485093"/>
            <a:ext cx="731371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Rectangle 10"/>
          <p:cNvSpPr txBox="1">
            <a:spLocks noChangeArrowheads="1"/>
          </p:cNvSpPr>
          <p:nvPr/>
        </p:nvSpPr>
        <p:spPr bwMode="gray">
          <a:xfrm>
            <a:off x="5787437" y="5504481"/>
            <a:ext cx="32655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>
                    <a:lumMod val="50000"/>
                  </a:schemeClr>
                </a:solidFill>
                <a:latin typeface="+mn-lt"/>
                <a:cs typeface="Arial" charset="0"/>
              </a:rPr>
              <a:t>16.7</a:t>
            </a:r>
          </a:p>
        </p:txBody>
      </p:sp>
      <p:sp>
        <p:nvSpPr>
          <p:cNvPr id="559" name="Isosceles Triangle 1072"/>
          <p:cNvSpPr>
            <a:spLocks noChangeArrowheads="1"/>
          </p:cNvSpPr>
          <p:nvPr/>
        </p:nvSpPr>
        <p:spPr bwMode="gray">
          <a:xfrm flipH="1">
            <a:off x="4971161" y="5481034"/>
            <a:ext cx="724760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60" name="Isosceles Triangle 1072"/>
          <p:cNvSpPr>
            <a:spLocks noChangeArrowheads="1"/>
          </p:cNvSpPr>
          <p:nvPr/>
        </p:nvSpPr>
        <p:spPr bwMode="gray">
          <a:xfrm flipH="1">
            <a:off x="4971161" y="5481034"/>
            <a:ext cx="724760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61" name="Rectangle 10"/>
          <p:cNvSpPr txBox="1">
            <a:spLocks noChangeArrowheads="1"/>
          </p:cNvSpPr>
          <p:nvPr/>
        </p:nvSpPr>
        <p:spPr bwMode="gray">
          <a:xfrm>
            <a:off x="5324854" y="5704745"/>
            <a:ext cx="3278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5.6</a:t>
            </a:r>
          </a:p>
        </p:txBody>
      </p:sp>
      <p:cxnSp>
        <p:nvCxnSpPr>
          <p:cNvPr id="562" name="Straight Connector 561"/>
          <p:cNvCxnSpPr>
            <a:cxnSpLocks/>
          </p:cNvCxnSpPr>
          <p:nvPr/>
        </p:nvCxnSpPr>
        <p:spPr>
          <a:xfrm flipV="1">
            <a:off x="4955006" y="5485093"/>
            <a:ext cx="738599" cy="4091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3" name="Rectangle 10"/>
          <p:cNvSpPr txBox="1">
            <a:spLocks noChangeArrowheads="1"/>
          </p:cNvSpPr>
          <p:nvPr/>
        </p:nvSpPr>
        <p:spPr bwMode="gray">
          <a:xfrm>
            <a:off x="5046798" y="5504481"/>
            <a:ext cx="23528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3.9</a:t>
            </a:r>
          </a:p>
        </p:txBody>
      </p:sp>
      <p:sp>
        <p:nvSpPr>
          <p:cNvPr id="566" name="Isosceles Triangle 961"/>
          <p:cNvSpPr>
            <a:spLocks noChangeArrowheads="1"/>
          </p:cNvSpPr>
          <p:nvPr/>
        </p:nvSpPr>
        <p:spPr bwMode="gray">
          <a:xfrm flipH="1">
            <a:off x="4166528" y="5481034"/>
            <a:ext cx="734004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67" name="Isosceles Triangle 961"/>
          <p:cNvSpPr>
            <a:spLocks noChangeArrowheads="1"/>
          </p:cNvSpPr>
          <p:nvPr/>
        </p:nvSpPr>
        <p:spPr bwMode="gray">
          <a:xfrm flipH="1">
            <a:off x="4166528" y="5481034"/>
            <a:ext cx="734004" cy="409109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txBody>
          <a:bodyPr lIns="0" tIns="0" rIns="0" bIns="0"/>
          <a:lstStyle/>
          <a:p>
            <a:pPr marL="257175" indent="-257175" algn="ctr" defTabSz="671513"/>
            <a:endParaRPr lang="en-US" sz="120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568" name="Rectangle 10"/>
          <p:cNvSpPr txBox="1">
            <a:spLocks noChangeArrowheads="1"/>
          </p:cNvSpPr>
          <p:nvPr/>
        </p:nvSpPr>
        <p:spPr bwMode="gray">
          <a:xfrm>
            <a:off x="4531779" y="5704745"/>
            <a:ext cx="3258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 9.8 </a:t>
            </a:r>
          </a:p>
        </p:txBody>
      </p:sp>
      <p:cxnSp>
        <p:nvCxnSpPr>
          <p:cNvPr id="570" name="Straight Connector 569"/>
          <p:cNvCxnSpPr>
            <a:cxnSpLocks/>
          </p:cNvCxnSpPr>
          <p:nvPr/>
        </p:nvCxnSpPr>
        <p:spPr>
          <a:xfrm flipV="1">
            <a:off x="4159617" y="5485093"/>
            <a:ext cx="734000" cy="409109"/>
          </a:xfrm>
          <a:prstGeom prst="line">
            <a:avLst/>
          </a:prstGeom>
          <a:solidFill>
            <a:srgbClr val="00B050"/>
          </a:solidFill>
          <a:ln>
            <a:solidFill>
              <a:schemeClr val="bg1"/>
            </a:solidFill>
          </a:ln>
          <a:effectLst/>
        </p:spPr>
      </p:cxnSp>
      <p:sp>
        <p:nvSpPr>
          <p:cNvPr id="571" name="Rectangle 10"/>
          <p:cNvSpPr txBox="1">
            <a:spLocks noChangeArrowheads="1"/>
          </p:cNvSpPr>
          <p:nvPr/>
        </p:nvSpPr>
        <p:spPr bwMode="gray">
          <a:xfrm>
            <a:off x="4241695" y="5504481"/>
            <a:ext cx="233818" cy="187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28663" indent="-28098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20775" indent="-225425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568450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16125" indent="-223838" defTabSz="877888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4733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305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3877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44925" indent="-223838" defTabSz="8778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Clr>
                <a:srgbClr val="3395DA"/>
              </a:buClr>
              <a:defRPr/>
            </a:pPr>
            <a:r>
              <a:rPr lang="en-US" sz="1200" b="1" kern="0" dirty="0">
                <a:solidFill>
                  <a:schemeClr val="bg1"/>
                </a:solidFill>
                <a:latin typeface="+mn-lt"/>
                <a:cs typeface="Arial" charset="0"/>
              </a:rPr>
              <a:t>8.6</a:t>
            </a:r>
          </a:p>
        </p:txBody>
      </p:sp>
      <p:sp>
        <p:nvSpPr>
          <p:cNvPr id="572" name="Rectangle 571"/>
          <p:cNvSpPr>
            <a:spLocks noChangeArrowheads="1"/>
          </p:cNvSpPr>
          <p:nvPr/>
        </p:nvSpPr>
        <p:spPr bwMode="gray">
          <a:xfrm>
            <a:off x="5754530" y="1016354"/>
            <a:ext cx="74091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US" sz="1200" b="1" dirty="0">
                <a:solidFill>
                  <a:schemeClr val="accent2"/>
                </a:solidFill>
                <a:latin typeface="+mn-lt"/>
                <a:cs typeface="Arial" charset="0"/>
              </a:rPr>
              <a:t>Other Asia &amp; Oceania</a:t>
            </a:r>
          </a:p>
        </p:txBody>
      </p:sp>
      <p:sp>
        <p:nvSpPr>
          <p:cNvPr id="253" name="5. Source"/>
          <p:cNvSpPr>
            <a:spLocks noChangeArrowheads="1"/>
          </p:cNvSpPr>
          <p:nvPr/>
        </p:nvSpPr>
        <p:spPr bwMode="gray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GB" sz="800" dirty="0">
                <a:solidFill>
                  <a:schemeClr val="accent6"/>
                </a:solidFill>
                <a:latin typeface="+mn-lt"/>
              </a:rPr>
              <a:t>SOURCE: McKinsey Energy Insights’ Global Energy Perspective, July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448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5. Source"/>
          <p:cNvSpPr>
            <a:spLocks noChangeArrowheads="1"/>
          </p:cNvSpPr>
          <p:nvPr/>
        </p:nvSpPr>
        <p:spPr bwMode="gray">
          <a:xfrm>
            <a:off x="1612900" y="6507559"/>
            <a:ext cx="6862762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rgbClr val="808080"/>
                </a:solidFill>
                <a:latin typeface="Arial"/>
              </a:rPr>
              <a:t>SOURCE: McKinsey</a:t>
            </a:r>
          </a:p>
        </p:txBody>
      </p:sp>
      <p:sp>
        <p:nvSpPr>
          <p:cNvPr id="9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73243" y="230189"/>
            <a:ext cx="8618537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Ride sharing and autonomous operations compound with electrification to accelerate mobility disruptions</a:t>
            </a:r>
          </a:p>
        </p:txBody>
      </p:sp>
      <p:sp>
        <p:nvSpPr>
          <p:cNvPr id="441" name="Rectangle 8"/>
          <p:cNvSpPr/>
          <p:nvPr/>
        </p:nvSpPr>
        <p:spPr>
          <a:xfrm rot="16200000" flipH="1">
            <a:off x="4128251" y="3075232"/>
            <a:ext cx="887629" cy="753775"/>
          </a:xfrm>
          <a:custGeom>
            <a:avLst/>
            <a:gdLst/>
            <a:ahLst/>
            <a:cxnLst/>
            <a:rect l="l" t="t" r="r" b="b"/>
            <a:pathLst>
              <a:path w="990017" h="1024388">
                <a:moveTo>
                  <a:pt x="0" y="0"/>
                </a:moveTo>
                <a:lnTo>
                  <a:pt x="990017" y="0"/>
                </a:lnTo>
                <a:cubicBezTo>
                  <a:pt x="849441" y="125701"/>
                  <a:pt x="762252" y="308766"/>
                  <a:pt x="762252" y="512194"/>
                </a:cubicBezTo>
                <a:cubicBezTo>
                  <a:pt x="762252" y="715622"/>
                  <a:pt x="849441" y="898687"/>
                  <a:pt x="990017" y="1024388"/>
                </a:cubicBezTo>
                <a:lnTo>
                  <a:pt x="0" y="1024388"/>
                </a:lnTo>
                <a:cubicBezTo>
                  <a:pt x="140575" y="898687"/>
                  <a:pt x="227764" y="715622"/>
                  <a:pt x="227764" y="512194"/>
                </a:cubicBezTo>
                <a:cubicBezTo>
                  <a:pt x="227764" y="308766"/>
                  <a:pt x="140575" y="125701"/>
                  <a:pt x="0" y="0"/>
                </a:cubicBezTo>
                <a:close/>
              </a:path>
            </a:pathLst>
          </a:cu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Rectangle 8"/>
          <p:cNvSpPr/>
          <p:nvPr/>
        </p:nvSpPr>
        <p:spPr>
          <a:xfrm rot="20111962" flipH="1">
            <a:off x="4565220" y="2266099"/>
            <a:ext cx="811593" cy="857866"/>
          </a:xfrm>
          <a:custGeom>
            <a:avLst/>
            <a:gdLst/>
            <a:ahLst/>
            <a:cxnLst/>
            <a:rect l="l" t="t" r="r" b="b"/>
            <a:pathLst>
              <a:path w="990017" h="1024388">
                <a:moveTo>
                  <a:pt x="0" y="0"/>
                </a:moveTo>
                <a:lnTo>
                  <a:pt x="990017" y="0"/>
                </a:lnTo>
                <a:cubicBezTo>
                  <a:pt x="849441" y="125701"/>
                  <a:pt x="762252" y="308766"/>
                  <a:pt x="762252" y="512194"/>
                </a:cubicBezTo>
                <a:cubicBezTo>
                  <a:pt x="762252" y="715622"/>
                  <a:pt x="849441" y="898687"/>
                  <a:pt x="990017" y="1024388"/>
                </a:cubicBezTo>
                <a:lnTo>
                  <a:pt x="0" y="1024388"/>
                </a:lnTo>
                <a:cubicBezTo>
                  <a:pt x="140575" y="898687"/>
                  <a:pt x="227764" y="715622"/>
                  <a:pt x="227764" y="512194"/>
                </a:cubicBezTo>
                <a:cubicBezTo>
                  <a:pt x="227764" y="308766"/>
                  <a:pt x="140575" y="125701"/>
                  <a:pt x="0" y="0"/>
                </a:cubicBezTo>
                <a:close/>
              </a:path>
            </a:pathLst>
          </a:cu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8" name="Rectangle 8"/>
          <p:cNvSpPr/>
          <p:nvPr/>
        </p:nvSpPr>
        <p:spPr>
          <a:xfrm rot="1488038">
            <a:off x="3810313" y="2266099"/>
            <a:ext cx="811593" cy="857866"/>
          </a:xfrm>
          <a:custGeom>
            <a:avLst/>
            <a:gdLst/>
            <a:ahLst/>
            <a:cxnLst/>
            <a:rect l="l" t="t" r="r" b="b"/>
            <a:pathLst>
              <a:path w="990017" h="1024388">
                <a:moveTo>
                  <a:pt x="0" y="0"/>
                </a:moveTo>
                <a:lnTo>
                  <a:pt x="990017" y="0"/>
                </a:lnTo>
                <a:cubicBezTo>
                  <a:pt x="849441" y="125701"/>
                  <a:pt x="762252" y="308766"/>
                  <a:pt x="762252" y="512194"/>
                </a:cubicBezTo>
                <a:cubicBezTo>
                  <a:pt x="762252" y="715622"/>
                  <a:pt x="849441" y="898687"/>
                  <a:pt x="990017" y="1024388"/>
                </a:cubicBezTo>
                <a:lnTo>
                  <a:pt x="0" y="1024388"/>
                </a:lnTo>
                <a:cubicBezTo>
                  <a:pt x="140575" y="898687"/>
                  <a:pt x="227764" y="715622"/>
                  <a:pt x="227764" y="512194"/>
                </a:cubicBezTo>
                <a:cubicBezTo>
                  <a:pt x="227764" y="308766"/>
                  <a:pt x="140575" y="125701"/>
                  <a:pt x="0" y="0"/>
                </a:cubicBezTo>
                <a:close/>
              </a:path>
            </a:pathLst>
          </a:cu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3" name="Oval 452"/>
          <p:cNvSpPr/>
          <p:nvPr/>
        </p:nvSpPr>
        <p:spPr>
          <a:xfrm>
            <a:off x="3261485" y="2869569"/>
            <a:ext cx="1169625" cy="1181322"/>
          </a:xfrm>
          <a:prstGeom prst="ellipse">
            <a:avLst/>
          </a:pr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Flowchart: Connector 453"/>
          <p:cNvSpPr/>
          <p:nvPr/>
        </p:nvSpPr>
        <p:spPr>
          <a:xfrm>
            <a:off x="3203733" y="2831625"/>
            <a:ext cx="1162521" cy="1191218"/>
          </a:xfrm>
          <a:prstGeom prst="flowChartConnector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6" name="Flowchart: Connector 455"/>
          <p:cNvSpPr>
            <a:spLocks/>
          </p:cNvSpPr>
          <p:nvPr/>
        </p:nvSpPr>
        <p:spPr>
          <a:xfrm>
            <a:off x="4083487" y="1469342"/>
            <a:ext cx="1014865" cy="1025015"/>
          </a:xfrm>
          <a:prstGeom prst="flowChartConnector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93296" tIns="46648" rIns="93296" bIns="46648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1" name="Oval 460"/>
          <p:cNvSpPr/>
          <p:nvPr/>
        </p:nvSpPr>
        <p:spPr>
          <a:xfrm>
            <a:off x="4747808" y="2869569"/>
            <a:ext cx="1169625" cy="1181322"/>
          </a:xfrm>
          <a:prstGeom prst="ellipse">
            <a:avLst/>
          </a:pr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Flowchart: Connector 461"/>
          <p:cNvSpPr/>
          <p:nvPr/>
        </p:nvSpPr>
        <p:spPr>
          <a:xfrm>
            <a:off x="4793871" y="2931915"/>
            <a:ext cx="1075496" cy="1078401"/>
          </a:xfrm>
          <a:prstGeom prst="flowChartConnector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5" name="Oval 464"/>
          <p:cNvSpPr>
            <a:spLocks noChangeArrowheads="1"/>
          </p:cNvSpPr>
          <p:nvPr/>
        </p:nvSpPr>
        <p:spPr bwMode="gray">
          <a:xfrm>
            <a:off x="3529899" y="3131324"/>
            <a:ext cx="507535" cy="545078"/>
          </a:xfrm>
          <a:prstGeom prst="ellipse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Vehicle </a:t>
            </a:r>
          </a:p>
          <a:p>
            <a:pPr algn="ctr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Electrification</a:t>
            </a:r>
          </a:p>
          <a:p>
            <a:pPr algn="ctr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 </a:t>
            </a:r>
          </a:p>
        </p:txBody>
      </p:sp>
      <p:sp>
        <p:nvSpPr>
          <p:cNvPr id="468" name="Oval 10"/>
          <p:cNvSpPr>
            <a:spLocks noChangeArrowheads="1"/>
          </p:cNvSpPr>
          <p:nvPr/>
        </p:nvSpPr>
        <p:spPr bwMode="gray">
          <a:xfrm>
            <a:off x="4063457" y="1765452"/>
            <a:ext cx="1054931" cy="432792"/>
          </a:xfrm>
          <a:prstGeom prst="ellipse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932958"/>
            <a:r>
              <a:rPr lang="en-US" sz="1000" dirty="0">
                <a:solidFill>
                  <a:srgbClr val="FFFFFF"/>
                </a:solidFill>
                <a:latin typeface="Arial"/>
                <a:cs typeface="Arial" pitchFamily="34" charset="0"/>
              </a:rPr>
              <a:t>Autonomous </a:t>
            </a:r>
            <a:br>
              <a:rPr lang="en-US" sz="1000" dirty="0">
                <a:solidFill>
                  <a:srgbClr val="FFFFFF"/>
                </a:solidFill>
                <a:latin typeface="Arial"/>
                <a:cs typeface="Arial" pitchFamily="34" charset="0"/>
              </a:rPr>
            </a:br>
            <a:r>
              <a:rPr lang="en-US" sz="1000" dirty="0">
                <a:solidFill>
                  <a:srgbClr val="FFFFFF"/>
                </a:solidFill>
                <a:latin typeface="Arial"/>
                <a:cs typeface="Arial" pitchFamily="34" charset="0"/>
              </a:rPr>
              <a:t>driving</a:t>
            </a:r>
          </a:p>
        </p:txBody>
      </p:sp>
      <p:sp>
        <p:nvSpPr>
          <p:cNvPr id="469" name="Oval 468"/>
          <p:cNvSpPr>
            <a:spLocks noChangeArrowheads="1"/>
          </p:cNvSpPr>
          <p:nvPr/>
        </p:nvSpPr>
        <p:spPr bwMode="gray">
          <a:xfrm>
            <a:off x="2574542" y="1868720"/>
            <a:ext cx="1057186" cy="216396"/>
          </a:xfrm>
          <a:prstGeom prst="ellipse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00" dirty="0">
                <a:solidFill>
                  <a:srgbClr val="FFFFFF"/>
                </a:solidFill>
                <a:latin typeface="Arial"/>
                <a:cs typeface="Arial" pitchFamily="34" charset="0"/>
              </a:rPr>
              <a:t>Infrastructure</a:t>
            </a:r>
          </a:p>
        </p:txBody>
      </p:sp>
      <p:sp>
        <p:nvSpPr>
          <p:cNvPr id="470" name="Oval 10"/>
          <p:cNvSpPr>
            <a:spLocks noChangeArrowheads="1"/>
          </p:cNvSpPr>
          <p:nvPr/>
        </p:nvSpPr>
        <p:spPr bwMode="gray">
          <a:xfrm>
            <a:off x="5078853" y="3037379"/>
            <a:ext cx="507535" cy="545078"/>
          </a:xfrm>
          <a:prstGeom prst="ellipse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932958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Shared</a:t>
            </a:r>
          </a:p>
          <a:p>
            <a:pPr algn="ctr" defTabSz="932958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 mobility</a:t>
            </a:r>
          </a:p>
        </p:txBody>
      </p:sp>
      <p:cxnSp>
        <p:nvCxnSpPr>
          <p:cNvPr id="474" name="Straight Arrow Connector 473"/>
          <p:cNvCxnSpPr/>
          <p:nvPr/>
        </p:nvCxnSpPr>
        <p:spPr>
          <a:xfrm>
            <a:off x="4821651" y="2427499"/>
            <a:ext cx="267849" cy="554585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Arrow Connector 475"/>
          <p:cNvCxnSpPr>
            <a:stCxn id="462" idx="2"/>
            <a:endCxn id="454" idx="6"/>
          </p:cNvCxnSpPr>
          <p:nvPr/>
        </p:nvCxnSpPr>
        <p:spPr>
          <a:xfrm flipH="1" flipV="1">
            <a:off x="4366254" y="3427234"/>
            <a:ext cx="427617" cy="43882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9" name="Straight Arrow Connector 478"/>
          <p:cNvCxnSpPr/>
          <p:nvPr/>
        </p:nvCxnSpPr>
        <p:spPr>
          <a:xfrm flipH="1">
            <a:off x="4048790" y="2429252"/>
            <a:ext cx="316124" cy="579052"/>
          </a:xfrm>
          <a:prstGeom prst="straightConnector1">
            <a:avLst/>
          </a:prstGeom>
          <a:ln w="28575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2" name="Oval 481"/>
          <p:cNvSpPr>
            <a:spLocks/>
          </p:cNvSpPr>
          <p:nvPr/>
        </p:nvSpPr>
        <p:spPr>
          <a:xfrm>
            <a:off x="4473896" y="3345813"/>
            <a:ext cx="231123" cy="228834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483" name="Oval 482"/>
          <p:cNvSpPr>
            <a:spLocks/>
          </p:cNvSpPr>
          <p:nvPr/>
        </p:nvSpPr>
        <p:spPr>
          <a:xfrm>
            <a:off x="4853059" y="2602791"/>
            <a:ext cx="231123" cy="228834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485" name="Oval 484"/>
          <p:cNvSpPr>
            <a:spLocks/>
          </p:cNvSpPr>
          <p:nvPr/>
        </p:nvSpPr>
        <p:spPr>
          <a:xfrm rot="10800000" flipV="1">
            <a:off x="4085274" y="2602791"/>
            <a:ext cx="231123" cy="228834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grpSp>
        <p:nvGrpSpPr>
          <p:cNvPr id="491" name="Group 490"/>
          <p:cNvGrpSpPr/>
          <p:nvPr/>
        </p:nvGrpSpPr>
        <p:grpSpPr bwMode="gray">
          <a:xfrm>
            <a:off x="5251920" y="3613848"/>
            <a:ext cx="288153" cy="284155"/>
            <a:chOff x="9164529" y="3308661"/>
            <a:chExt cx="337032" cy="410782"/>
          </a:xfrm>
          <a:solidFill>
            <a:schemeClr val="bg2"/>
          </a:solidFill>
        </p:grpSpPr>
        <p:sp>
          <p:nvSpPr>
            <p:cNvPr id="492" name="Freeform 93048"/>
            <p:cNvSpPr>
              <a:spLocks noEditPoints="1"/>
            </p:cNvSpPr>
            <p:nvPr/>
          </p:nvSpPr>
          <p:spPr bwMode="gray">
            <a:xfrm>
              <a:off x="9206672" y="3466638"/>
              <a:ext cx="105316" cy="231694"/>
            </a:xfrm>
            <a:custGeom>
              <a:avLst/>
              <a:gdLst>
                <a:gd name="T0" fmla="*/ 8 w 10"/>
                <a:gd name="T1" fmla="*/ 20 h 22"/>
                <a:gd name="T2" fmla="*/ 8 w 10"/>
                <a:gd name="T3" fmla="*/ 22 h 22"/>
                <a:gd name="T4" fmla="*/ 10 w 10"/>
                <a:gd name="T5" fmla="*/ 22 h 22"/>
                <a:gd name="T6" fmla="*/ 10 w 10"/>
                <a:gd name="T7" fmla="*/ 0 h 22"/>
                <a:gd name="T8" fmla="*/ 0 w 10"/>
                <a:gd name="T9" fmla="*/ 0 h 22"/>
                <a:gd name="T10" fmla="*/ 0 w 10"/>
                <a:gd name="T11" fmla="*/ 1 h 22"/>
                <a:gd name="T12" fmla="*/ 9 w 10"/>
                <a:gd name="T13" fmla="*/ 1 h 22"/>
                <a:gd name="T14" fmla="*/ 9 w 10"/>
                <a:gd name="T15" fmla="*/ 2 h 22"/>
                <a:gd name="T16" fmla="*/ 0 w 10"/>
                <a:gd name="T17" fmla="*/ 2 h 22"/>
                <a:gd name="T18" fmla="*/ 0 w 10"/>
                <a:gd name="T19" fmla="*/ 22 h 22"/>
                <a:gd name="T20" fmla="*/ 2 w 10"/>
                <a:gd name="T21" fmla="*/ 22 h 22"/>
                <a:gd name="T22" fmla="*/ 2 w 10"/>
                <a:gd name="T23" fmla="*/ 20 h 22"/>
                <a:gd name="T24" fmla="*/ 8 w 10"/>
                <a:gd name="T25" fmla="*/ 20 h 22"/>
                <a:gd name="T26" fmla="*/ 6 w 10"/>
                <a:gd name="T27" fmla="*/ 4 h 22"/>
                <a:gd name="T28" fmla="*/ 9 w 10"/>
                <a:gd name="T29" fmla="*/ 4 h 22"/>
                <a:gd name="T30" fmla="*/ 9 w 10"/>
                <a:gd name="T31" fmla="*/ 7 h 22"/>
                <a:gd name="T32" fmla="*/ 6 w 10"/>
                <a:gd name="T33" fmla="*/ 7 h 22"/>
                <a:gd name="T34" fmla="*/ 6 w 10"/>
                <a:gd name="T35" fmla="*/ 4 h 22"/>
                <a:gd name="T36" fmla="*/ 6 w 10"/>
                <a:gd name="T37" fmla="*/ 9 h 22"/>
                <a:gd name="T38" fmla="*/ 9 w 10"/>
                <a:gd name="T39" fmla="*/ 9 h 22"/>
                <a:gd name="T40" fmla="*/ 9 w 10"/>
                <a:gd name="T41" fmla="*/ 13 h 22"/>
                <a:gd name="T42" fmla="*/ 6 w 10"/>
                <a:gd name="T43" fmla="*/ 13 h 22"/>
                <a:gd name="T44" fmla="*/ 6 w 10"/>
                <a:gd name="T45" fmla="*/ 9 h 22"/>
                <a:gd name="T46" fmla="*/ 6 w 10"/>
                <a:gd name="T47" fmla="*/ 15 h 22"/>
                <a:gd name="T48" fmla="*/ 9 w 10"/>
                <a:gd name="T49" fmla="*/ 15 h 22"/>
                <a:gd name="T50" fmla="*/ 9 w 10"/>
                <a:gd name="T51" fmla="*/ 18 h 22"/>
                <a:gd name="T52" fmla="*/ 6 w 10"/>
                <a:gd name="T53" fmla="*/ 18 h 22"/>
                <a:gd name="T54" fmla="*/ 6 w 10"/>
                <a:gd name="T55" fmla="*/ 15 h 22"/>
                <a:gd name="T56" fmla="*/ 1 w 10"/>
                <a:gd name="T57" fmla="*/ 4 h 22"/>
                <a:gd name="T58" fmla="*/ 4 w 10"/>
                <a:gd name="T59" fmla="*/ 4 h 22"/>
                <a:gd name="T60" fmla="*/ 4 w 10"/>
                <a:gd name="T61" fmla="*/ 7 h 22"/>
                <a:gd name="T62" fmla="*/ 1 w 10"/>
                <a:gd name="T63" fmla="*/ 7 h 22"/>
                <a:gd name="T64" fmla="*/ 1 w 10"/>
                <a:gd name="T65" fmla="*/ 4 h 22"/>
                <a:gd name="T66" fmla="*/ 1 w 10"/>
                <a:gd name="T67" fmla="*/ 9 h 22"/>
                <a:gd name="T68" fmla="*/ 4 w 10"/>
                <a:gd name="T69" fmla="*/ 9 h 22"/>
                <a:gd name="T70" fmla="*/ 4 w 10"/>
                <a:gd name="T71" fmla="*/ 13 h 22"/>
                <a:gd name="T72" fmla="*/ 1 w 10"/>
                <a:gd name="T73" fmla="*/ 13 h 22"/>
                <a:gd name="T74" fmla="*/ 1 w 10"/>
                <a:gd name="T75" fmla="*/ 9 h 22"/>
                <a:gd name="T76" fmla="*/ 1 w 10"/>
                <a:gd name="T77" fmla="*/ 18 h 22"/>
                <a:gd name="T78" fmla="*/ 1 w 10"/>
                <a:gd name="T79" fmla="*/ 15 h 22"/>
                <a:gd name="T80" fmla="*/ 4 w 10"/>
                <a:gd name="T81" fmla="*/ 15 h 22"/>
                <a:gd name="T82" fmla="*/ 4 w 10"/>
                <a:gd name="T83" fmla="*/ 18 h 22"/>
                <a:gd name="T84" fmla="*/ 1 w 10"/>
                <a:gd name="T85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2">
                  <a:moveTo>
                    <a:pt x="8" y="20"/>
                  </a:moveTo>
                  <a:lnTo>
                    <a:pt x="8" y="22"/>
                  </a:lnTo>
                  <a:lnTo>
                    <a:pt x="10" y="2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0" y="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8" y="20"/>
                  </a:lnTo>
                  <a:close/>
                  <a:moveTo>
                    <a:pt x="6" y="4"/>
                  </a:moveTo>
                  <a:lnTo>
                    <a:pt x="9" y="4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close/>
                  <a:moveTo>
                    <a:pt x="6" y="9"/>
                  </a:moveTo>
                  <a:lnTo>
                    <a:pt x="9" y="9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6" y="9"/>
                  </a:lnTo>
                  <a:close/>
                  <a:moveTo>
                    <a:pt x="6" y="15"/>
                  </a:moveTo>
                  <a:lnTo>
                    <a:pt x="9" y="15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5"/>
                  </a:lnTo>
                  <a:close/>
                  <a:moveTo>
                    <a:pt x="1" y="4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1" y="7"/>
                  </a:lnTo>
                  <a:lnTo>
                    <a:pt x="1" y="4"/>
                  </a:lnTo>
                  <a:close/>
                  <a:moveTo>
                    <a:pt x="1" y="9"/>
                  </a:moveTo>
                  <a:lnTo>
                    <a:pt x="4" y="9"/>
                  </a:lnTo>
                  <a:lnTo>
                    <a:pt x="4" y="13"/>
                  </a:lnTo>
                  <a:lnTo>
                    <a:pt x="1" y="13"/>
                  </a:lnTo>
                  <a:lnTo>
                    <a:pt x="1" y="9"/>
                  </a:lnTo>
                  <a:close/>
                  <a:moveTo>
                    <a:pt x="1" y="18"/>
                  </a:moveTo>
                  <a:lnTo>
                    <a:pt x="1" y="15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3" name="Freeform 93049"/>
            <p:cNvSpPr>
              <a:spLocks noEditPoints="1"/>
            </p:cNvSpPr>
            <p:nvPr/>
          </p:nvSpPr>
          <p:spPr bwMode="gray">
            <a:xfrm>
              <a:off x="9206672" y="3466638"/>
              <a:ext cx="105316" cy="231694"/>
            </a:xfrm>
            <a:custGeom>
              <a:avLst/>
              <a:gdLst>
                <a:gd name="T0" fmla="*/ 8 w 10"/>
                <a:gd name="T1" fmla="*/ 20 h 22"/>
                <a:gd name="T2" fmla="*/ 8 w 10"/>
                <a:gd name="T3" fmla="*/ 22 h 22"/>
                <a:gd name="T4" fmla="*/ 10 w 10"/>
                <a:gd name="T5" fmla="*/ 22 h 22"/>
                <a:gd name="T6" fmla="*/ 10 w 10"/>
                <a:gd name="T7" fmla="*/ 0 h 22"/>
                <a:gd name="T8" fmla="*/ 0 w 10"/>
                <a:gd name="T9" fmla="*/ 0 h 22"/>
                <a:gd name="T10" fmla="*/ 0 w 10"/>
                <a:gd name="T11" fmla="*/ 1 h 22"/>
                <a:gd name="T12" fmla="*/ 9 w 10"/>
                <a:gd name="T13" fmla="*/ 1 h 22"/>
                <a:gd name="T14" fmla="*/ 9 w 10"/>
                <a:gd name="T15" fmla="*/ 2 h 22"/>
                <a:gd name="T16" fmla="*/ 0 w 10"/>
                <a:gd name="T17" fmla="*/ 2 h 22"/>
                <a:gd name="T18" fmla="*/ 0 w 10"/>
                <a:gd name="T19" fmla="*/ 22 h 22"/>
                <a:gd name="T20" fmla="*/ 2 w 10"/>
                <a:gd name="T21" fmla="*/ 22 h 22"/>
                <a:gd name="T22" fmla="*/ 2 w 10"/>
                <a:gd name="T23" fmla="*/ 20 h 22"/>
                <a:gd name="T24" fmla="*/ 8 w 10"/>
                <a:gd name="T25" fmla="*/ 20 h 22"/>
                <a:gd name="T26" fmla="*/ 6 w 10"/>
                <a:gd name="T27" fmla="*/ 4 h 22"/>
                <a:gd name="T28" fmla="*/ 9 w 10"/>
                <a:gd name="T29" fmla="*/ 4 h 22"/>
                <a:gd name="T30" fmla="*/ 9 w 10"/>
                <a:gd name="T31" fmla="*/ 7 h 22"/>
                <a:gd name="T32" fmla="*/ 6 w 10"/>
                <a:gd name="T33" fmla="*/ 7 h 22"/>
                <a:gd name="T34" fmla="*/ 6 w 10"/>
                <a:gd name="T35" fmla="*/ 4 h 22"/>
                <a:gd name="T36" fmla="*/ 6 w 10"/>
                <a:gd name="T37" fmla="*/ 9 h 22"/>
                <a:gd name="T38" fmla="*/ 9 w 10"/>
                <a:gd name="T39" fmla="*/ 9 h 22"/>
                <a:gd name="T40" fmla="*/ 9 w 10"/>
                <a:gd name="T41" fmla="*/ 13 h 22"/>
                <a:gd name="T42" fmla="*/ 6 w 10"/>
                <a:gd name="T43" fmla="*/ 13 h 22"/>
                <a:gd name="T44" fmla="*/ 6 w 10"/>
                <a:gd name="T45" fmla="*/ 9 h 22"/>
                <a:gd name="T46" fmla="*/ 6 w 10"/>
                <a:gd name="T47" fmla="*/ 15 h 22"/>
                <a:gd name="T48" fmla="*/ 9 w 10"/>
                <a:gd name="T49" fmla="*/ 15 h 22"/>
                <a:gd name="T50" fmla="*/ 9 w 10"/>
                <a:gd name="T51" fmla="*/ 18 h 22"/>
                <a:gd name="T52" fmla="*/ 6 w 10"/>
                <a:gd name="T53" fmla="*/ 18 h 22"/>
                <a:gd name="T54" fmla="*/ 6 w 10"/>
                <a:gd name="T55" fmla="*/ 15 h 22"/>
                <a:gd name="T56" fmla="*/ 1 w 10"/>
                <a:gd name="T57" fmla="*/ 4 h 22"/>
                <a:gd name="T58" fmla="*/ 4 w 10"/>
                <a:gd name="T59" fmla="*/ 4 h 22"/>
                <a:gd name="T60" fmla="*/ 4 w 10"/>
                <a:gd name="T61" fmla="*/ 7 h 22"/>
                <a:gd name="T62" fmla="*/ 1 w 10"/>
                <a:gd name="T63" fmla="*/ 7 h 22"/>
                <a:gd name="T64" fmla="*/ 1 w 10"/>
                <a:gd name="T65" fmla="*/ 4 h 22"/>
                <a:gd name="T66" fmla="*/ 1 w 10"/>
                <a:gd name="T67" fmla="*/ 9 h 22"/>
                <a:gd name="T68" fmla="*/ 4 w 10"/>
                <a:gd name="T69" fmla="*/ 9 h 22"/>
                <a:gd name="T70" fmla="*/ 4 w 10"/>
                <a:gd name="T71" fmla="*/ 13 h 22"/>
                <a:gd name="T72" fmla="*/ 1 w 10"/>
                <a:gd name="T73" fmla="*/ 13 h 22"/>
                <a:gd name="T74" fmla="*/ 1 w 10"/>
                <a:gd name="T75" fmla="*/ 9 h 22"/>
                <a:gd name="T76" fmla="*/ 1 w 10"/>
                <a:gd name="T77" fmla="*/ 18 h 22"/>
                <a:gd name="T78" fmla="*/ 1 w 10"/>
                <a:gd name="T79" fmla="*/ 15 h 22"/>
                <a:gd name="T80" fmla="*/ 4 w 10"/>
                <a:gd name="T81" fmla="*/ 15 h 22"/>
                <a:gd name="T82" fmla="*/ 4 w 10"/>
                <a:gd name="T83" fmla="*/ 18 h 22"/>
                <a:gd name="T84" fmla="*/ 1 w 10"/>
                <a:gd name="T85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22">
                  <a:moveTo>
                    <a:pt x="8" y="20"/>
                  </a:moveTo>
                  <a:lnTo>
                    <a:pt x="8" y="22"/>
                  </a:lnTo>
                  <a:lnTo>
                    <a:pt x="10" y="2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0" y="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8" y="20"/>
                  </a:lnTo>
                  <a:moveTo>
                    <a:pt x="6" y="4"/>
                  </a:moveTo>
                  <a:lnTo>
                    <a:pt x="9" y="4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moveTo>
                    <a:pt x="6" y="9"/>
                  </a:moveTo>
                  <a:lnTo>
                    <a:pt x="9" y="9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6" y="9"/>
                  </a:lnTo>
                  <a:moveTo>
                    <a:pt x="6" y="15"/>
                  </a:moveTo>
                  <a:lnTo>
                    <a:pt x="9" y="15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5"/>
                  </a:lnTo>
                  <a:moveTo>
                    <a:pt x="1" y="4"/>
                  </a:moveTo>
                  <a:lnTo>
                    <a:pt x="4" y="4"/>
                  </a:lnTo>
                  <a:lnTo>
                    <a:pt x="4" y="7"/>
                  </a:lnTo>
                  <a:lnTo>
                    <a:pt x="1" y="7"/>
                  </a:lnTo>
                  <a:lnTo>
                    <a:pt x="1" y="4"/>
                  </a:lnTo>
                  <a:moveTo>
                    <a:pt x="1" y="9"/>
                  </a:moveTo>
                  <a:lnTo>
                    <a:pt x="4" y="9"/>
                  </a:lnTo>
                  <a:lnTo>
                    <a:pt x="4" y="13"/>
                  </a:lnTo>
                  <a:lnTo>
                    <a:pt x="1" y="13"/>
                  </a:lnTo>
                  <a:lnTo>
                    <a:pt x="1" y="9"/>
                  </a:lnTo>
                  <a:moveTo>
                    <a:pt x="1" y="18"/>
                  </a:moveTo>
                  <a:lnTo>
                    <a:pt x="1" y="15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1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4" name="Freeform 93050"/>
            <p:cNvSpPr>
              <a:spLocks/>
            </p:cNvSpPr>
            <p:nvPr/>
          </p:nvSpPr>
          <p:spPr bwMode="gray">
            <a:xfrm>
              <a:off x="9164544" y="3698330"/>
              <a:ext cx="189569" cy="21063"/>
            </a:xfrm>
            <a:custGeom>
              <a:avLst/>
              <a:gdLst>
                <a:gd name="T0" fmla="*/ 12 w 18"/>
                <a:gd name="T1" fmla="*/ 0 h 2"/>
                <a:gd name="T2" fmla="*/ 12 w 18"/>
                <a:gd name="T3" fmla="*/ 0 h 2"/>
                <a:gd name="T4" fmla="*/ 6 w 18"/>
                <a:gd name="T5" fmla="*/ 0 h 2"/>
                <a:gd name="T6" fmla="*/ 6 w 18"/>
                <a:gd name="T7" fmla="*/ 0 h 2"/>
                <a:gd name="T8" fmla="*/ 0 w 18"/>
                <a:gd name="T9" fmla="*/ 0 h 2"/>
                <a:gd name="T10" fmla="*/ 0 w 18"/>
                <a:gd name="T11" fmla="*/ 2 h 2"/>
                <a:gd name="T12" fmla="*/ 18 w 18"/>
                <a:gd name="T13" fmla="*/ 2 h 2"/>
                <a:gd name="T14" fmla="*/ 18 w 18"/>
                <a:gd name="T15" fmla="*/ 0 h 2"/>
                <a:gd name="T16" fmla="*/ 12 w 18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5" name="Freeform 93051"/>
            <p:cNvSpPr>
              <a:spLocks/>
            </p:cNvSpPr>
            <p:nvPr/>
          </p:nvSpPr>
          <p:spPr bwMode="gray">
            <a:xfrm>
              <a:off x="9164544" y="3698330"/>
              <a:ext cx="189569" cy="21063"/>
            </a:xfrm>
            <a:custGeom>
              <a:avLst/>
              <a:gdLst>
                <a:gd name="T0" fmla="*/ 12 w 18"/>
                <a:gd name="T1" fmla="*/ 0 h 2"/>
                <a:gd name="T2" fmla="*/ 12 w 18"/>
                <a:gd name="T3" fmla="*/ 0 h 2"/>
                <a:gd name="T4" fmla="*/ 6 w 18"/>
                <a:gd name="T5" fmla="*/ 0 h 2"/>
                <a:gd name="T6" fmla="*/ 6 w 18"/>
                <a:gd name="T7" fmla="*/ 0 h 2"/>
                <a:gd name="T8" fmla="*/ 0 w 18"/>
                <a:gd name="T9" fmla="*/ 0 h 2"/>
                <a:gd name="T10" fmla="*/ 0 w 18"/>
                <a:gd name="T11" fmla="*/ 2 h 2"/>
                <a:gd name="T12" fmla="*/ 18 w 18"/>
                <a:gd name="T13" fmla="*/ 2 h 2"/>
                <a:gd name="T14" fmla="*/ 18 w 18"/>
                <a:gd name="T15" fmla="*/ 0 h 2"/>
                <a:gd name="T16" fmla="*/ 12 w 18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">
                  <a:moveTo>
                    <a:pt x="12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2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6" name="Freeform 93052"/>
            <p:cNvSpPr>
              <a:spLocks noEditPoints="1"/>
            </p:cNvSpPr>
            <p:nvPr/>
          </p:nvSpPr>
          <p:spPr bwMode="gray">
            <a:xfrm>
              <a:off x="9343587" y="3308664"/>
              <a:ext cx="157974" cy="410729"/>
            </a:xfrm>
            <a:custGeom>
              <a:avLst/>
              <a:gdLst>
                <a:gd name="T0" fmla="*/ 13 w 15"/>
                <a:gd name="T1" fmla="*/ 0 h 39"/>
                <a:gd name="T2" fmla="*/ 1 w 15"/>
                <a:gd name="T3" fmla="*/ 0 h 39"/>
                <a:gd name="T4" fmla="*/ 1 w 15"/>
                <a:gd name="T5" fmla="*/ 2 h 39"/>
                <a:gd name="T6" fmla="*/ 0 w 15"/>
                <a:gd name="T7" fmla="*/ 2 h 39"/>
                <a:gd name="T8" fmla="*/ 0 w 15"/>
                <a:gd name="T9" fmla="*/ 39 h 39"/>
                <a:gd name="T10" fmla="*/ 2 w 15"/>
                <a:gd name="T11" fmla="*/ 39 h 39"/>
                <a:gd name="T12" fmla="*/ 2 w 15"/>
                <a:gd name="T13" fmla="*/ 36 h 39"/>
                <a:gd name="T14" fmla="*/ 13 w 15"/>
                <a:gd name="T15" fmla="*/ 36 h 39"/>
                <a:gd name="T16" fmla="*/ 13 w 15"/>
                <a:gd name="T17" fmla="*/ 39 h 39"/>
                <a:gd name="T18" fmla="*/ 15 w 15"/>
                <a:gd name="T19" fmla="*/ 39 h 39"/>
                <a:gd name="T20" fmla="*/ 15 w 15"/>
                <a:gd name="T21" fmla="*/ 2 h 39"/>
                <a:gd name="T22" fmla="*/ 13 w 15"/>
                <a:gd name="T23" fmla="*/ 2 h 39"/>
                <a:gd name="T24" fmla="*/ 13 w 15"/>
                <a:gd name="T25" fmla="*/ 0 h 39"/>
                <a:gd name="T26" fmla="*/ 7 w 15"/>
                <a:gd name="T27" fmla="*/ 32 h 39"/>
                <a:gd name="T28" fmla="*/ 1 w 15"/>
                <a:gd name="T29" fmla="*/ 32 h 39"/>
                <a:gd name="T30" fmla="*/ 1 w 15"/>
                <a:gd name="T31" fmla="*/ 27 h 39"/>
                <a:gd name="T32" fmla="*/ 7 w 15"/>
                <a:gd name="T33" fmla="*/ 27 h 39"/>
                <a:gd name="T34" fmla="*/ 7 w 15"/>
                <a:gd name="T35" fmla="*/ 32 h 39"/>
                <a:gd name="T36" fmla="*/ 1 w 15"/>
                <a:gd name="T37" fmla="*/ 12 h 39"/>
                <a:gd name="T38" fmla="*/ 1 w 15"/>
                <a:gd name="T39" fmla="*/ 7 h 39"/>
                <a:gd name="T40" fmla="*/ 7 w 15"/>
                <a:gd name="T41" fmla="*/ 7 h 39"/>
                <a:gd name="T42" fmla="*/ 7 w 15"/>
                <a:gd name="T43" fmla="*/ 12 h 39"/>
                <a:gd name="T44" fmla="*/ 1 w 15"/>
                <a:gd name="T45" fmla="*/ 12 h 39"/>
                <a:gd name="T46" fmla="*/ 7 w 15"/>
                <a:gd name="T47" fmla="*/ 25 h 39"/>
                <a:gd name="T48" fmla="*/ 1 w 15"/>
                <a:gd name="T49" fmla="*/ 25 h 39"/>
                <a:gd name="T50" fmla="*/ 1 w 15"/>
                <a:gd name="T51" fmla="*/ 20 h 39"/>
                <a:gd name="T52" fmla="*/ 7 w 15"/>
                <a:gd name="T53" fmla="*/ 20 h 39"/>
                <a:gd name="T54" fmla="*/ 7 w 15"/>
                <a:gd name="T55" fmla="*/ 25 h 39"/>
                <a:gd name="T56" fmla="*/ 7 w 15"/>
                <a:gd name="T57" fmla="*/ 19 h 39"/>
                <a:gd name="T58" fmla="*/ 1 w 15"/>
                <a:gd name="T59" fmla="*/ 19 h 39"/>
                <a:gd name="T60" fmla="*/ 1 w 15"/>
                <a:gd name="T61" fmla="*/ 14 h 39"/>
                <a:gd name="T62" fmla="*/ 7 w 15"/>
                <a:gd name="T63" fmla="*/ 14 h 39"/>
                <a:gd name="T64" fmla="*/ 7 w 15"/>
                <a:gd name="T65" fmla="*/ 19 h 39"/>
                <a:gd name="T66" fmla="*/ 7 w 15"/>
                <a:gd name="T67" fmla="*/ 5 h 39"/>
                <a:gd name="T68" fmla="*/ 1 w 15"/>
                <a:gd name="T69" fmla="*/ 5 h 39"/>
                <a:gd name="T70" fmla="*/ 1 w 15"/>
                <a:gd name="T71" fmla="*/ 4 h 39"/>
                <a:gd name="T72" fmla="*/ 7 w 15"/>
                <a:gd name="T73" fmla="*/ 4 h 39"/>
                <a:gd name="T74" fmla="*/ 7 w 15"/>
                <a:gd name="T75" fmla="*/ 5 h 39"/>
                <a:gd name="T76" fmla="*/ 13 w 15"/>
                <a:gd name="T77" fmla="*/ 32 h 39"/>
                <a:gd name="T78" fmla="*/ 8 w 15"/>
                <a:gd name="T79" fmla="*/ 32 h 39"/>
                <a:gd name="T80" fmla="*/ 8 w 15"/>
                <a:gd name="T81" fmla="*/ 27 h 39"/>
                <a:gd name="T82" fmla="*/ 13 w 15"/>
                <a:gd name="T83" fmla="*/ 27 h 39"/>
                <a:gd name="T84" fmla="*/ 13 w 15"/>
                <a:gd name="T85" fmla="*/ 32 h 39"/>
                <a:gd name="T86" fmla="*/ 7 w 15"/>
                <a:gd name="T87" fmla="*/ 12 h 39"/>
                <a:gd name="T88" fmla="*/ 7 w 15"/>
                <a:gd name="T89" fmla="*/ 7 h 39"/>
                <a:gd name="T90" fmla="*/ 13 w 15"/>
                <a:gd name="T91" fmla="*/ 7 h 39"/>
                <a:gd name="T92" fmla="*/ 13 w 15"/>
                <a:gd name="T93" fmla="*/ 12 h 39"/>
                <a:gd name="T94" fmla="*/ 7 w 15"/>
                <a:gd name="T95" fmla="*/ 12 h 39"/>
                <a:gd name="T96" fmla="*/ 13 w 15"/>
                <a:gd name="T97" fmla="*/ 25 h 39"/>
                <a:gd name="T98" fmla="*/ 8 w 15"/>
                <a:gd name="T99" fmla="*/ 25 h 39"/>
                <a:gd name="T100" fmla="*/ 8 w 15"/>
                <a:gd name="T101" fmla="*/ 20 h 39"/>
                <a:gd name="T102" fmla="*/ 13 w 15"/>
                <a:gd name="T103" fmla="*/ 20 h 39"/>
                <a:gd name="T104" fmla="*/ 13 w 15"/>
                <a:gd name="T105" fmla="*/ 25 h 39"/>
                <a:gd name="T106" fmla="*/ 13 w 15"/>
                <a:gd name="T107" fmla="*/ 19 h 39"/>
                <a:gd name="T108" fmla="*/ 8 w 15"/>
                <a:gd name="T109" fmla="*/ 19 h 39"/>
                <a:gd name="T110" fmla="*/ 8 w 15"/>
                <a:gd name="T111" fmla="*/ 14 h 39"/>
                <a:gd name="T112" fmla="*/ 13 w 15"/>
                <a:gd name="T113" fmla="*/ 14 h 39"/>
                <a:gd name="T114" fmla="*/ 13 w 15"/>
                <a:gd name="T115" fmla="*/ 19 h 39"/>
                <a:gd name="T116" fmla="*/ 13 w 15"/>
                <a:gd name="T117" fmla="*/ 5 h 39"/>
                <a:gd name="T118" fmla="*/ 7 w 15"/>
                <a:gd name="T119" fmla="*/ 5 h 39"/>
                <a:gd name="T120" fmla="*/ 7 w 15"/>
                <a:gd name="T121" fmla="*/ 4 h 39"/>
                <a:gd name="T122" fmla="*/ 13 w 15"/>
                <a:gd name="T123" fmla="*/ 4 h 39"/>
                <a:gd name="T124" fmla="*/ 13 w 15"/>
                <a:gd name="T12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9">
                  <a:moveTo>
                    <a:pt x="13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36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5" y="39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0"/>
                  </a:lnTo>
                  <a:close/>
                  <a:moveTo>
                    <a:pt x="7" y="32"/>
                  </a:moveTo>
                  <a:lnTo>
                    <a:pt x="1" y="32"/>
                  </a:lnTo>
                  <a:lnTo>
                    <a:pt x="1" y="27"/>
                  </a:lnTo>
                  <a:lnTo>
                    <a:pt x="7" y="27"/>
                  </a:lnTo>
                  <a:lnTo>
                    <a:pt x="7" y="32"/>
                  </a:lnTo>
                  <a:close/>
                  <a:moveTo>
                    <a:pt x="1" y="12"/>
                  </a:moveTo>
                  <a:lnTo>
                    <a:pt x="1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1" y="12"/>
                  </a:lnTo>
                  <a:close/>
                  <a:moveTo>
                    <a:pt x="7" y="25"/>
                  </a:moveTo>
                  <a:lnTo>
                    <a:pt x="1" y="25"/>
                  </a:lnTo>
                  <a:lnTo>
                    <a:pt x="1" y="20"/>
                  </a:lnTo>
                  <a:lnTo>
                    <a:pt x="7" y="20"/>
                  </a:lnTo>
                  <a:lnTo>
                    <a:pt x="7" y="25"/>
                  </a:lnTo>
                  <a:close/>
                  <a:moveTo>
                    <a:pt x="7" y="19"/>
                  </a:moveTo>
                  <a:lnTo>
                    <a:pt x="1" y="19"/>
                  </a:lnTo>
                  <a:lnTo>
                    <a:pt x="1" y="14"/>
                  </a:lnTo>
                  <a:lnTo>
                    <a:pt x="7" y="14"/>
                  </a:lnTo>
                  <a:lnTo>
                    <a:pt x="7" y="19"/>
                  </a:lnTo>
                  <a:close/>
                  <a:moveTo>
                    <a:pt x="7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7" y="4"/>
                  </a:lnTo>
                  <a:lnTo>
                    <a:pt x="7" y="5"/>
                  </a:lnTo>
                  <a:close/>
                  <a:moveTo>
                    <a:pt x="13" y="32"/>
                  </a:moveTo>
                  <a:lnTo>
                    <a:pt x="8" y="32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3" y="32"/>
                  </a:lnTo>
                  <a:close/>
                  <a:moveTo>
                    <a:pt x="7" y="12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2"/>
                  </a:lnTo>
                  <a:lnTo>
                    <a:pt x="7" y="12"/>
                  </a:lnTo>
                  <a:close/>
                  <a:moveTo>
                    <a:pt x="13" y="25"/>
                  </a:moveTo>
                  <a:lnTo>
                    <a:pt x="8" y="25"/>
                  </a:lnTo>
                  <a:lnTo>
                    <a:pt x="8" y="20"/>
                  </a:lnTo>
                  <a:lnTo>
                    <a:pt x="13" y="20"/>
                  </a:lnTo>
                  <a:lnTo>
                    <a:pt x="13" y="25"/>
                  </a:lnTo>
                  <a:close/>
                  <a:moveTo>
                    <a:pt x="13" y="19"/>
                  </a:moveTo>
                  <a:lnTo>
                    <a:pt x="8" y="19"/>
                  </a:lnTo>
                  <a:lnTo>
                    <a:pt x="8" y="14"/>
                  </a:lnTo>
                  <a:lnTo>
                    <a:pt x="13" y="14"/>
                  </a:lnTo>
                  <a:lnTo>
                    <a:pt x="13" y="19"/>
                  </a:lnTo>
                  <a:close/>
                  <a:moveTo>
                    <a:pt x="13" y="5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7" name="Freeform 93053"/>
            <p:cNvSpPr>
              <a:spLocks noEditPoints="1"/>
            </p:cNvSpPr>
            <p:nvPr/>
          </p:nvSpPr>
          <p:spPr bwMode="gray">
            <a:xfrm>
              <a:off x="9343583" y="3308661"/>
              <a:ext cx="157974" cy="410729"/>
            </a:xfrm>
            <a:custGeom>
              <a:avLst/>
              <a:gdLst>
                <a:gd name="T0" fmla="*/ 13 w 15"/>
                <a:gd name="T1" fmla="*/ 0 h 39"/>
                <a:gd name="T2" fmla="*/ 1 w 15"/>
                <a:gd name="T3" fmla="*/ 0 h 39"/>
                <a:gd name="T4" fmla="*/ 1 w 15"/>
                <a:gd name="T5" fmla="*/ 2 h 39"/>
                <a:gd name="T6" fmla="*/ 0 w 15"/>
                <a:gd name="T7" fmla="*/ 2 h 39"/>
                <a:gd name="T8" fmla="*/ 0 w 15"/>
                <a:gd name="T9" fmla="*/ 39 h 39"/>
                <a:gd name="T10" fmla="*/ 2 w 15"/>
                <a:gd name="T11" fmla="*/ 39 h 39"/>
                <a:gd name="T12" fmla="*/ 2 w 15"/>
                <a:gd name="T13" fmla="*/ 36 h 39"/>
                <a:gd name="T14" fmla="*/ 13 w 15"/>
                <a:gd name="T15" fmla="*/ 36 h 39"/>
                <a:gd name="T16" fmla="*/ 13 w 15"/>
                <a:gd name="T17" fmla="*/ 39 h 39"/>
                <a:gd name="T18" fmla="*/ 15 w 15"/>
                <a:gd name="T19" fmla="*/ 39 h 39"/>
                <a:gd name="T20" fmla="*/ 15 w 15"/>
                <a:gd name="T21" fmla="*/ 2 h 39"/>
                <a:gd name="T22" fmla="*/ 13 w 15"/>
                <a:gd name="T23" fmla="*/ 2 h 39"/>
                <a:gd name="T24" fmla="*/ 13 w 15"/>
                <a:gd name="T25" fmla="*/ 0 h 39"/>
                <a:gd name="T26" fmla="*/ 7 w 15"/>
                <a:gd name="T27" fmla="*/ 32 h 39"/>
                <a:gd name="T28" fmla="*/ 1 w 15"/>
                <a:gd name="T29" fmla="*/ 32 h 39"/>
                <a:gd name="T30" fmla="*/ 1 w 15"/>
                <a:gd name="T31" fmla="*/ 27 h 39"/>
                <a:gd name="T32" fmla="*/ 7 w 15"/>
                <a:gd name="T33" fmla="*/ 27 h 39"/>
                <a:gd name="T34" fmla="*/ 7 w 15"/>
                <a:gd name="T35" fmla="*/ 32 h 39"/>
                <a:gd name="T36" fmla="*/ 1 w 15"/>
                <a:gd name="T37" fmla="*/ 12 h 39"/>
                <a:gd name="T38" fmla="*/ 1 w 15"/>
                <a:gd name="T39" fmla="*/ 7 h 39"/>
                <a:gd name="T40" fmla="*/ 7 w 15"/>
                <a:gd name="T41" fmla="*/ 7 h 39"/>
                <a:gd name="T42" fmla="*/ 7 w 15"/>
                <a:gd name="T43" fmla="*/ 12 h 39"/>
                <a:gd name="T44" fmla="*/ 1 w 15"/>
                <a:gd name="T45" fmla="*/ 12 h 39"/>
                <a:gd name="T46" fmla="*/ 7 w 15"/>
                <a:gd name="T47" fmla="*/ 25 h 39"/>
                <a:gd name="T48" fmla="*/ 1 w 15"/>
                <a:gd name="T49" fmla="*/ 25 h 39"/>
                <a:gd name="T50" fmla="*/ 1 w 15"/>
                <a:gd name="T51" fmla="*/ 20 h 39"/>
                <a:gd name="T52" fmla="*/ 7 w 15"/>
                <a:gd name="T53" fmla="*/ 20 h 39"/>
                <a:gd name="T54" fmla="*/ 7 w 15"/>
                <a:gd name="T55" fmla="*/ 25 h 39"/>
                <a:gd name="T56" fmla="*/ 7 w 15"/>
                <a:gd name="T57" fmla="*/ 19 h 39"/>
                <a:gd name="T58" fmla="*/ 1 w 15"/>
                <a:gd name="T59" fmla="*/ 19 h 39"/>
                <a:gd name="T60" fmla="*/ 1 w 15"/>
                <a:gd name="T61" fmla="*/ 14 h 39"/>
                <a:gd name="T62" fmla="*/ 7 w 15"/>
                <a:gd name="T63" fmla="*/ 14 h 39"/>
                <a:gd name="T64" fmla="*/ 7 w 15"/>
                <a:gd name="T65" fmla="*/ 19 h 39"/>
                <a:gd name="T66" fmla="*/ 7 w 15"/>
                <a:gd name="T67" fmla="*/ 5 h 39"/>
                <a:gd name="T68" fmla="*/ 1 w 15"/>
                <a:gd name="T69" fmla="*/ 5 h 39"/>
                <a:gd name="T70" fmla="*/ 1 w 15"/>
                <a:gd name="T71" fmla="*/ 4 h 39"/>
                <a:gd name="T72" fmla="*/ 7 w 15"/>
                <a:gd name="T73" fmla="*/ 4 h 39"/>
                <a:gd name="T74" fmla="*/ 7 w 15"/>
                <a:gd name="T75" fmla="*/ 5 h 39"/>
                <a:gd name="T76" fmla="*/ 13 w 15"/>
                <a:gd name="T77" fmla="*/ 32 h 39"/>
                <a:gd name="T78" fmla="*/ 8 w 15"/>
                <a:gd name="T79" fmla="*/ 32 h 39"/>
                <a:gd name="T80" fmla="*/ 8 w 15"/>
                <a:gd name="T81" fmla="*/ 27 h 39"/>
                <a:gd name="T82" fmla="*/ 13 w 15"/>
                <a:gd name="T83" fmla="*/ 27 h 39"/>
                <a:gd name="T84" fmla="*/ 13 w 15"/>
                <a:gd name="T85" fmla="*/ 32 h 39"/>
                <a:gd name="T86" fmla="*/ 7 w 15"/>
                <a:gd name="T87" fmla="*/ 12 h 39"/>
                <a:gd name="T88" fmla="*/ 7 w 15"/>
                <a:gd name="T89" fmla="*/ 7 h 39"/>
                <a:gd name="T90" fmla="*/ 13 w 15"/>
                <a:gd name="T91" fmla="*/ 7 h 39"/>
                <a:gd name="T92" fmla="*/ 13 w 15"/>
                <a:gd name="T93" fmla="*/ 12 h 39"/>
                <a:gd name="T94" fmla="*/ 7 w 15"/>
                <a:gd name="T95" fmla="*/ 12 h 39"/>
                <a:gd name="T96" fmla="*/ 13 w 15"/>
                <a:gd name="T97" fmla="*/ 25 h 39"/>
                <a:gd name="T98" fmla="*/ 8 w 15"/>
                <a:gd name="T99" fmla="*/ 25 h 39"/>
                <a:gd name="T100" fmla="*/ 8 w 15"/>
                <a:gd name="T101" fmla="*/ 20 h 39"/>
                <a:gd name="T102" fmla="*/ 13 w 15"/>
                <a:gd name="T103" fmla="*/ 20 h 39"/>
                <a:gd name="T104" fmla="*/ 13 w 15"/>
                <a:gd name="T105" fmla="*/ 25 h 39"/>
                <a:gd name="T106" fmla="*/ 13 w 15"/>
                <a:gd name="T107" fmla="*/ 19 h 39"/>
                <a:gd name="T108" fmla="*/ 8 w 15"/>
                <a:gd name="T109" fmla="*/ 19 h 39"/>
                <a:gd name="T110" fmla="*/ 8 w 15"/>
                <a:gd name="T111" fmla="*/ 14 h 39"/>
                <a:gd name="T112" fmla="*/ 13 w 15"/>
                <a:gd name="T113" fmla="*/ 14 h 39"/>
                <a:gd name="T114" fmla="*/ 13 w 15"/>
                <a:gd name="T115" fmla="*/ 19 h 39"/>
                <a:gd name="T116" fmla="*/ 13 w 15"/>
                <a:gd name="T117" fmla="*/ 5 h 39"/>
                <a:gd name="T118" fmla="*/ 7 w 15"/>
                <a:gd name="T119" fmla="*/ 5 h 39"/>
                <a:gd name="T120" fmla="*/ 7 w 15"/>
                <a:gd name="T121" fmla="*/ 4 h 39"/>
                <a:gd name="T122" fmla="*/ 13 w 15"/>
                <a:gd name="T123" fmla="*/ 4 h 39"/>
                <a:gd name="T124" fmla="*/ 13 w 15"/>
                <a:gd name="T12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9">
                  <a:moveTo>
                    <a:pt x="13" y="0"/>
                  </a:moveTo>
                  <a:lnTo>
                    <a:pt x="1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36"/>
                  </a:lnTo>
                  <a:lnTo>
                    <a:pt x="13" y="36"/>
                  </a:lnTo>
                  <a:lnTo>
                    <a:pt x="13" y="39"/>
                  </a:lnTo>
                  <a:lnTo>
                    <a:pt x="15" y="39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0"/>
                  </a:lnTo>
                  <a:moveTo>
                    <a:pt x="7" y="32"/>
                  </a:moveTo>
                  <a:lnTo>
                    <a:pt x="1" y="32"/>
                  </a:lnTo>
                  <a:lnTo>
                    <a:pt x="1" y="27"/>
                  </a:lnTo>
                  <a:lnTo>
                    <a:pt x="7" y="27"/>
                  </a:lnTo>
                  <a:lnTo>
                    <a:pt x="7" y="32"/>
                  </a:lnTo>
                  <a:moveTo>
                    <a:pt x="1" y="12"/>
                  </a:moveTo>
                  <a:lnTo>
                    <a:pt x="1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1" y="12"/>
                  </a:lnTo>
                  <a:moveTo>
                    <a:pt x="7" y="25"/>
                  </a:moveTo>
                  <a:lnTo>
                    <a:pt x="1" y="25"/>
                  </a:lnTo>
                  <a:lnTo>
                    <a:pt x="1" y="20"/>
                  </a:lnTo>
                  <a:lnTo>
                    <a:pt x="7" y="20"/>
                  </a:lnTo>
                  <a:lnTo>
                    <a:pt x="7" y="25"/>
                  </a:lnTo>
                  <a:moveTo>
                    <a:pt x="7" y="19"/>
                  </a:moveTo>
                  <a:lnTo>
                    <a:pt x="1" y="19"/>
                  </a:lnTo>
                  <a:lnTo>
                    <a:pt x="1" y="14"/>
                  </a:lnTo>
                  <a:lnTo>
                    <a:pt x="7" y="14"/>
                  </a:lnTo>
                  <a:lnTo>
                    <a:pt x="7" y="19"/>
                  </a:lnTo>
                  <a:moveTo>
                    <a:pt x="7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7" y="4"/>
                  </a:lnTo>
                  <a:lnTo>
                    <a:pt x="7" y="5"/>
                  </a:lnTo>
                  <a:moveTo>
                    <a:pt x="13" y="32"/>
                  </a:moveTo>
                  <a:lnTo>
                    <a:pt x="8" y="32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3" y="32"/>
                  </a:lnTo>
                  <a:moveTo>
                    <a:pt x="7" y="12"/>
                  </a:moveTo>
                  <a:lnTo>
                    <a:pt x="7" y="7"/>
                  </a:lnTo>
                  <a:lnTo>
                    <a:pt x="13" y="7"/>
                  </a:lnTo>
                  <a:lnTo>
                    <a:pt x="13" y="12"/>
                  </a:lnTo>
                  <a:lnTo>
                    <a:pt x="7" y="12"/>
                  </a:lnTo>
                  <a:moveTo>
                    <a:pt x="13" y="25"/>
                  </a:moveTo>
                  <a:lnTo>
                    <a:pt x="8" y="25"/>
                  </a:lnTo>
                  <a:lnTo>
                    <a:pt x="8" y="20"/>
                  </a:lnTo>
                  <a:lnTo>
                    <a:pt x="13" y="20"/>
                  </a:lnTo>
                  <a:lnTo>
                    <a:pt x="13" y="25"/>
                  </a:lnTo>
                  <a:moveTo>
                    <a:pt x="13" y="19"/>
                  </a:moveTo>
                  <a:lnTo>
                    <a:pt x="8" y="19"/>
                  </a:lnTo>
                  <a:lnTo>
                    <a:pt x="8" y="14"/>
                  </a:lnTo>
                  <a:lnTo>
                    <a:pt x="13" y="14"/>
                  </a:lnTo>
                  <a:lnTo>
                    <a:pt x="13" y="19"/>
                  </a:lnTo>
                  <a:moveTo>
                    <a:pt x="13" y="5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5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8" name="Freeform 93058"/>
            <p:cNvSpPr>
              <a:spLocks noEditPoints="1"/>
            </p:cNvSpPr>
            <p:nvPr/>
          </p:nvSpPr>
          <p:spPr bwMode="gray">
            <a:xfrm>
              <a:off x="9206672" y="3466635"/>
              <a:ext cx="0" cy="231694"/>
            </a:xfrm>
            <a:custGeom>
              <a:avLst/>
              <a:gdLst>
                <a:gd name="T0" fmla="*/ 2 h 22"/>
                <a:gd name="T1" fmla="*/ 2 h 22"/>
                <a:gd name="T2" fmla="*/ 22 h 22"/>
                <a:gd name="T3" fmla="*/ 22 h 22"/>
                <a:gd name="T4" fmla="*/ 2 h 22"/>
                <a:gd name="T5" fmla="*/ 0 h 22"/>
                <a:gd name="T6" fmla="*/ 0 h 22"/>
                <a:gd name="T7" fmla="*/ 1 h 22"/>
                <a:gd name="T8" fmla="*/ 1 h 22"/>
                <a:gd name="T9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2">
                  <a:moveTo>
                    <a:pt x="0" y="2"/>
                  </a:moveTo>
                  <a:lnTo>
                    <a:pt x="0" y="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99" name="Freeform 93059"/>
            <p:cNvSpPr>
              <a:spLocks noEditPoints="1"/>
            </p:cNvSpPr>
            <p:nvPr/>
          </p:nvSpPr>
          <p:spPr bwMode="gray">
            <a:xfrm>
              <a:off x="9206672" y="3466635"/>
              <a:ext cx="0" cy="231694"/>
            </a:xfrm>
            <a:custGeom>
              <a:avLst/>
              <a:gdLst>
                <a:gd name="T0" fmla="*/ 2 h 22"/>
                <a:gd name="T1" fmla="*/ 2 h 22"/>
                <a:gd name="T2" fmla="*/ 22 h 22"/>
                <a:gd name="T3" fmla="*/ 22 h 22"/>
                <a:gd name="T4" fmla="*/ 2 h 22"/>
                <a:gd name="T5" fmla="*/ 0 h 22"/>
                <a:gd name="T6" fmla="*/ 0 h 22"/>
                <a:gd name="T7" fmla="*/ 1 h 22"/>
                <a:gd name="T8" fmla="*/ 1 h 22"/>
                <a:gd name="T9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22">
                  <a:moveTo>
                    <a:pt x="0" y="2"/>
                  </a:moveTo>
                  <a:lnTo>
                    <a:pt x="0" y="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"/>
                  </a:lnTo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00" name="Freeform 93060"/>
            <p:cNvSpPr>
              <a:spLocks/>
            </p:cNvSpPr>
            <p:nvPr/>
          </p:nvSpPr>
          <p:spPr bwMode="gray">
            <a:xfrm>
              <a:off x="9164572" y="3698380"/>
              <a:ext cx="42126" cy="21063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2 w 4"/>
                <a:gd name="T7" fmla="*/ 2 h 2"/>
                <a:gd name="T8" fmla="*/ 4 w 4"/>
                <a:gd name="T9" fmla="*/ 2 h 2"/>
                <a:gd name="T10" fmla="*/ 4 w 4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01" name="Freeform 93061"/>
            <p:cNvSpPr>
              <a:spLocks/>
            </p:cNvSpPr>
            <p:nvPr/>
          </p:nvSpPr>
          <p:spPr bwMode="gray">
            <a:xfrm>
              <a:off x="9164529" y="3698365"/>
              <a:ext cx="42126" cy="21063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0 h 2"/>
                <a:gd name="T4" fmla="*/ 0 w 4"/>
                <a:gd name="T5" fmla="*/ 2 h 2"/>
                <a:gd name="T6" fmla="*/ 2 w 4"/>
                <a:gd name="T7" fmla="*/ 2 h 2"/>
                <a:gd name="T8" fmla="*/ 4 w 4"/>
                <a:gd name="T9" fmla="*/ 2 h 2"/>
                <a:gd name="T10" fmla="*/ 4 w 4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506" name="Freeform 30"/>
          <p:cNvSpPr>
            <a:spLocks/>
          </p:cNvSpPr>
          <p:nvPr/>
        </p:nvSpPr>
        <p:spPr bwMode="gray">
          <a:xfrm>
            <a:off x="4462312" y="2180384"/>
            <a:ext cx="162071" cy="36107"/>
          </a:xfrm>
          <a:custGeom>
            <a:avLst/>
            <a:gdLst>
              <a:gd name="T0" fmla="*/ 211 w 216"/>
              <a:gd name="T1" fmla="*/ 56 h 61"/>
              <a:gd name="T2" fmla="*/ 211 w 216"/>
              <a:gd name="T3" fmla="*/ 40 h 61"/>
              <a:gd name="T4" fmla="*/ 108 w 216"/>
              <a:gd name="T5" fmla="*/ 0 h 61"/>
              <a:gd name="T6" fmla="*/ 5 w 216"/>
              <a:gd name="T7" fmla="*/ 40 h 61"/>
              <a:gd name="T8" fmla="*/ 4 w 216"/>
              <a:gd name="T9" fmla="*/ 56 h 61"/>
              <a:gd name="T10" fmla="*/ 21 w 216"/>
              <a:gd name="T11" fmla="*/ 57 h 61"/>
              <a:gd name="T12" fmla="*/ 108 w 216"/>
              <a:gd name="T13" fmla="*/ 23 h 61"/>
              <a:gd name="T14" fmla="*/ 195 w 216"/>
              <a:gd name="T15" fmla="*/ 57 h 61"/>
              <a:gd name="T16" fmla="*/ 211 w 216"/>
              <a:gd name="T17" fmla="*/ 5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6" h="61">
                <a:moveTo>
                  <a:pt x="211" y="56"/>
                </a:moveTo>
                <a:cubicBezTo>
                  <a:pt x="216" y="51"/>
                  <a:pt x="216" y="44"/>
                  <a:pt x="211" y="40"/>
                </a:cubicBezTo>
                <a:cubicBezTo>
                  <a:pt x="184" y="15"/>
                  <a:pt x="148" y="0"/>
                  <a:pt x="108" y="0"/>
                </a:cubicBezTo>
                <a:cubicBezTo>
                  <a:pt x="68" y="0"/>
                  <a:pt x="31" y="15"/>
                  <a:pt x="5" y="40"/>
                </a:cubicBezTo>
                <a:cubicBezTo>
                  <a:pt x="0" y="44"/>
                  <a:pt x="0" y="51"/>
                  <a:pt x="4" y="56"/>
                </a:cubicBezTo>
                <a:cubicBezTo>
                  <a:pt x="9" y="61"/>
                  <a:pt x="16" y="61"/>
                  <a:pt x="21" y="57"/>
                </a:cubicBezTo>
                <a:cubicBezTo>
                  <a:pt x="43" y="36"/>
                  <a:pt x="74" y="23"/>
                  <a:pt x="108" y="23"/>
                </a:cubicBezTo>
                <a:cubicBezTo>
                  <a:pt x="142" y="23"/>
                  <a:pt x="173" y="36"/>
                  <a:pt x="195" y="57"/>
                </a:cubicBezTo>
                <a:cubicBezTo>
                  <a:pt x="200" y="61"/>
                  <a:pt x="207" y="61"/>
                  <a:pt x="211" y="5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07" name="Freeform 31"/>
          <p:cNvSpPr>
            <a:spLocks/>
          </p:cNvSpPr>
          <p:nvPr/>
        </p:nvSpPr>
        <p:spPr bwMode="gray">
          <a:xfrm>
            <a:off x="4478741" y="2211048"/>
            <a:ext cx="129215" cy="30666"/>
          </a:xfrm>
          <a:custGeom>
            <a:avLst/>
            <a:gdLst>
              <a:gd name="T0" fmla="*/ 167 w 172"/>
              <a:gd name="T1" fmla="*/ 47 h 52"/>
              <a:gd name="T2" fmla="*/ 167 w 172"/>
              <a:gd name="T3" fmla="*/ 31 h 52"/>
              <a:gd name="T4" fmla="*/ 86 w 172"/>
              <a:gd name="T5" fmla="*/ 0 h 52"/>
              <a:gd name="T6" fmla="*/ 5 w 172"/>
              <a:gd name="T7" fmla="*/ 31 h 52"/>
              <a:gd name="T8" fmla="*/ 5 w 172"/>
              <a:gd name="T9" fmla="*/ 47 h 52"/>
              <a:gd name="T10" fmla="*/ 21 w 172"/>
              <a:gd name="T11" fmla="*/ 48 h 52"/>
              <a:gd name="T12" fmla="*/ 86 w 172"/>
              <a:gd name="T13" fmla="*/ 23 h 52"/>
              <a:gd name="T14" fmla="*/ 151 w 172"/>
              <a:gd name="T15" fmla="*/ 48 h 52"/>
              <a:gd name="T16" fmla="*/ 167 w 172"/>
              <a:gd name="T17" fmla="*/ 47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2" h="52">
                <a:moveTo>
                  <a:pt x="167" y="47"/>
                </a:moveTo>
                <a:cubicBezTo>
                  <a:pt x="172" y="43"/>
                  <a:pt x="171" y="35"/>
                  <a:pt x="167" y="31"/>
                </a:cubicBezTo>
                <a:cubicBezTo>
                  <a:pt x="146" y="12"/>
                  <a:pt x="117" y="0"/>
                  <a:pt x="86" y="0"/>
                </a:cubicBezTo>
                <a:cubicBezTo>
                  <a:pt x="55" y="0"/>
                  <a:pt x="26" y="12"/>
                  <a:pt x="5" y="31"/>
                </a:cubicBezTo>
                <a:cubicBezTo>
                  <a:pt x="1" y="35"/>
                  <a:pt x="0" y="43"/>
                  <a:pt x="5" y="47"/>
                </a:cubicBezTo>
                <a:cubicBezTo>
                  <a:pt x="9" y="52"/>
                  <a:pt x="16" y="52"/>
                  <a:pt x="21" y="48"/>
                </a:cubicBezTo>
                <a:cubicBezTo>
                  <a:pt x="37" y="32"/>
                  <a:pt x="60" y="23"/>
                  <a:pt x="86" y="23"/>
                </a:cubicBezTo>
                <a:cubicBezTo>
                  <a:pt x="111" y="23"/>
                  <a:pt x="134" y="32"/>
                  <a:pt x="151" y="48"/>
                </a:cubicBezTo>
                <a:cubicBezTo>
                  <a:pt x="156" y="52"/>
                  <a:pt x="163" y="52"/>
                  <a:pt x="167" y="4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08" name="Freeform 32"/>
          <p:cNvSpPr>
            <a:spLocks/>
          </p:cNvSpPr>
          <p:nvPr/>
        </p:nvSpPr>
        <p:spPr bwMode="gray">
          <a:xfrm>
            <a:off x="4496116" y="2241219"/>
            <a:ext cx="94462" cy="25720"/>
          </a:xfrm>
          <a:custGeom>
            <a:avLst/>
            <a:gdLst>
              <a:gd name="T0" fmla="*/ 4 w 126"/>
              <a:gd name="T1" fmla="*/ 23 h 44"/>
              <a:gd name="T2" fmla="*/ 4 w 126"/>
              <a:gd name="T3" fmla="*/ 39 h 44"/>
              <a:gd name="T4" fmla="*/ 20 w 126"/>
              <a:gd name="T5" fmla="*/ 40 h 44"/>
              <a:gd name="T6" fmla="*/ 63 w 126"/>
              <a:gd name="T7" fmla="*/ 23 h 44"/>
              <a:gd name="T8" fmla="*/ 106 w 126"/>
              <a:gd name="T9" fmla="*/ 40 h 44"/>
              <a:gd name="T10" fmla="*/ 122 w 126"/>
              <a:gd name="T11" fmla="*/ 39 h 44"/>
              <a:gd name="T12" fmla="*/ 121 w 126"/>
              <a:gd name="T13" fmla="*/ 23 h 44"/>
              <a:gd name="T14" fmla="*/ 63 w 126"/>
              <a:gd name="T15" fmla="*/ 0 h 44"/>
              <a:gd name="T16" fmla="*/ 4 w 126"/>
              <a:gd name="T17" fmla="*/ 2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" h="44">
                <a:moveTo>
                  <a:pt x="4" y="23"/>
                </a:moveTo>
                <a:cubicBezTo>
                  <a:pt x="0" y="27"/>
                  <a:pt x="0" y="35"/>
                  <a:pt x="4" y="39"/>
                </a:cubicBezTo>
                <a:cubicBezTo>
                  <a:pt x="8" y="44"/>
                  <a:pt x="16" y="44"/>
                  <a:pt x="20" y="40"/>
                </a:cubicBezTo>
                <a:cubicBezTo>
                  <a:pt x="31" y="30"/>
                  <a:pt x="46" y="23"/>
                  <a:pt x="63" y="23"/>
                </a:cubicBezTo>
                <a:cubicBezTo>
                  <a:pt x="80" y="23"/>
                  <a:pt x="95" y="30"/>
                  <a:pt x="106" y="40"/>
                </a:cubicBezTo>
                <a:cubicBezTo>
                  <a:pt x="110" y="44"/>
                  <a:pt x="118" y="44"/>
                  <a:pt x="122" y="39"/>
                </a:cubicBezTo>
                <a:cubicBezTo>
                  <a:pt x="126" y="35"/>
                  <a:pt x="126" y="27"/>
                  <a:pt x="121" y="23"/>
                </a:cubicBezTo>
                <a:cubicBezTo>
                  <a:pt x="106" y="9"/>
                  <a:pt x="86" y="0"/>
                  <a:pt x="63" y="0"/>
                </a:cubicBezTo>
                <a:cubicBezTo>
                  <a:pt x="40" y="0"/>
                  <a:pt x="20" y="9"/>
                  <a:pt x="4" y="2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09" name="Freeform 54"/>
          <p:cNvSpPr>
            <a:spLocks noEditPoints="1"/>
          </p:cNvSpPr>
          <p:nvPr/>
        </p:nvSpPr>
        <p:spPr bwMode="gray">
          <a:xfrm>
            <a:off x="4582059" y="2262570"/>
            <a:ext cx="191130" cy="107827"/>
          </a:xfrm>
          <a:custGeom>
            <a:avLst/>
            <a:gdLst>
              <a:gd name="T0" fmla="*/ 219 w 242"/>
              <a:gd name="T1" fmla="*/ 33 h 174"/>
              <a:gd name="T2" fmla="*/ 211 w 242"/>
              <a:gd name="T3" fmla="*/ 38 h 174"/>
              <a:gd name="T4" fmla="*/ 201 w 242"/>
              <a:gd name="T5" fmla="*/ 25 h 174"/>
              <a:gd name="T6" fmla="*/ 75 w 242"/>
              <a:gd name="T7" fmla="*/ 0 h 174"/>
              <a:gd name="T8" fmla="*/ 33 w 242"/>
              <a:gd name="T9" fmla="*/ 51 h 174"/>
              <a:gd name="T10" fmla="*/ 25 w 242"/>
              <a:gd name="T11" fmla="*/ 33 h 174"/>
              <a:gd name="T12" fmla="*/ 6 w 242"/>
              <a:gd name="T13" fmla="*/ 33 h 174"/>
              <a:gd name="T14" fmla="*/ 0 w 242"/>
              <a:gd name="T15" fmla="*/ 38 h 174"/>
              <a:gd name="T16" fmla="*/ 18 w 242"/>
              <a:gd name="T17" fmla="*/ 48 h 174"/>
              <a:gd name="T18" fmla="*/ 25 w 242"/>
              <a:gd name="T19" fmla="*/ 54 h 174"/>
              <a:gd name="T20" fmla="*/ 5 w 242"/>
              <a:gd name="T21" fmla="*/ 91 h 174"/>
              <a:gd name="T22" fmla="*/ 8 w 242"/>
              <a:gd name="T23" fmla="*/ 174 h 174"/>
              <a:gd name="T24" fmla="*/ 45 w 242"/>
              <a:gd name="T25" fmla="*/ 163 h 174"/>
              <a:gd name="T26" fmla="*/ 197 w 242"/>
              <a:gd name="T27" fmla="*/ 163 h 174"/>
              <a:gd name="T28" fmla="*/ 234 w 242"/>
              <a:gd name="T29" fmla="*/ 174 h 174"/>
              <a:gd name="T30" fmla="*/ 237 w 242"/>
              <a:gd name="T31" fmla="*/ 91 h 174"/>
              <a:gd name="T32" fmla="*/ 217 w 242"/>
              <a:gd name="T33" fmla="*/ 54 h 174"/>
              <a:gd name="T34" fmla="*/ 223 w 242"/>
              <a:gd name="T35" fmla="*/ 48 h 174"/>
              <a:gd name="T36" fmla="*/ 242 w 242"/>
              <a:gd name="T37" fmla="*/ 38 h 174"/>
              <a:gd name="T38" fmla="*/ 236 w 242"/>
              <a:gd name="T39" fmla="*/ 33 h 174"/>
              <a:gd name="T40" fmla="*/ 75 w 242"/>
              <a:gd name="T41" fmla="*/ 9 h 174"/>
              <a:gd name="T42" fmla="*/ 196 w 242"/>
              <a:gd name="T43" fmla="*/ 30 h 174"/>
              <a:gd name="T44" fmla="*/ 164 w 242"/>
              <a:gd name="T45" fmla="*/ 50 h 174"/>
              <a:gd name="T46" fmla="*/ 83 w 242"/>
              <a:gd name="T47" fmla="*/ 47 h 174"/>
              <a:gd name="T48" fmla="*/ 40 w 242"/>
              <a:gd name="T49" fmla="*/ 49 h 174"/>
              <a:gd name="T50" fmla="*/ 24 w 242"/>
              <a:gd name="T51" fmla="*/ 108 h 174"/>
              <a:gd name="T52" fmla="*/ 18 w 242"/>
              <a:gd name="T53" fmla="*/ 99 h 174"/>
              <a:gd name="T54" fmla="*/ 22 w 242"/>
              <a:gd name="T55" fmla="*/ 85 h 174"/>
              <a:gd name="T56" fmla="*/ 62 w 242"/>
              <a:gd name="T57" fmla="*/ 88 h 174"/>
              <a:gd name="T58" fmla="*/ 64 w 242"/>
              <a:gd name="T59" fmla="*/ 110 h 174"/>
              <a:gd name="T60" fmla="*/ 220 w 242"/>
              <a:gd name="T61" fmla="*/ 85 h 174"/>
              <a:gd name="T62" fmla="*/ 225 w 242"/>
              <a:gd name="T63" fmla="*/ 99 h 174"/>
              <a:gd name="T64" fmla="*/ 218 w 242"/>
              <a:gd name="T65" fmla="*/ 108 h 174"/>
              <a:gd name="T66" fmla="*/ 172 w 242"/>
              <a:gd name="T67" fmla="*/ 105 h 174"/>
              <a:gd name="T68" fmla="*/ 214 w 242"/>
              <a:gd name="T69" fmla="*/ 84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2" h="174">
                <a:moveTo>
                  <a:pt x="236" y="33"/>
                </a:moveTo>
                <a:cubicBezTo>
                  <a:pt x="219" y="33"/>
                  <a:pt x="219" y="33"/>
                  <a:pt x="219" y="33"/>
                </a:cubicBezTo>
                <a:cubicBezTo>
                  <a:pt x="217" y="33"/>
                  <a:pt x="217" y="33"/>
                  <a:pt x="217" y="33"/>
                </a:cubicBezTo>
                <a:cubicBezTo>
                  <a:pt x="214" y="33"/>
                  <a:pt x="211" y="35"/>
                  <a:pt x="211" y="38"/>
                </a:cubicBezTo>
                <a:cubicBezTo>
                  <a:pt x="209" y="50"/>
                  <a:pt x="209" y="50"/>
                  <a:pt x="209" y="50"/>
                </a:cubicBezTo>
                <a:cubicBezTo>
                  <a:pt x="201" y="25"/>
                  <a:pt x="201" y="25"/>
                  <a:pt x="201" y="25"/>
                </a:cubicBezTo>
                <a:cubicBezTo>
                  <a:pt x="196" y="10"/>
                  <a:pt x="182" y="0"/>
                  <a:pt x="167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60" y="0"/>
                  <a:pt x="46" y="10"/>
                  <a:pt x="42" y="25"/>
                </a:cubicBezTo>
                <a:cubicBezTo>
                  <a:pt x="33" y="51"/>
                  <a:pt x="33" y="51"/>
                  <a:pt x="33" y="51"/>
                </a:cubicBezTo>
                <a:cubicBezTo>
                  <a:pt x="31" y="38"/>
                  <a:pt x="31" y="38"/>
                  <a:pt x="31" y="38"/>
                </a:cubicBezTo>
                <a:cubicBezTo>
                  <a:pt x="31" y="35"/>
                  <a:pt x="28" y="33"/>
                  <a:pt x="25" y="33"/>
                </a:cubicBezTo>
                <a:cubicBezTo>
                  <a:pt x="23" y="33"/>
                  <a:pt x="23" y="33"/>
                  <a:pt x="23" y="33"/>
                </a:cubicBezTo>
                <a:cubicBezTo>
                  <a:pt x="6" y="33"/>
                  <a:pt x="6" y="33"/>
                  <a:pt x="6" y="33"/>
                </a:cubicBezTo>
                <a:cubicBezTo>
                  <a:pt x="3" y="33"/>
                  <a:pt x="0" y="35"/>
                  <a:pt x="0" y="38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44"/>
                  <a:pt x="4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22" y="48"/>
                  <a:pt x="24" y="50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9" y="78"/>
                  <a:pt x="9" y="78"/>
                  <a:pt x="9" y="78"/>
                </a:cubicBezTo>
                <a:cubicBezTo>
                  <a:pt x="6" y="82"/>
                  <a:pt x="5" y="86"/>
                  <a:pt x="5" y="91"/>
                </a:cubicBezTo>
                <a:cubicBezTo>
                  <a:pt x="8" y="162"/>
                  <a:pt x="8" y="162"/>
                  <a:pt x="8" y="162"/>
                </a:cubicBezTo>
                <a:cubicBezTo>
                  <a:pt x="8" y="174"/>
                  <a:pt x="8" y="174"/>
                  <a:pt x="8" y="174"/>
                </a:cubicBezTo>
                <a:cubicBezTo>
                  <a:pt x="45" y="174"/>
                  <a:pt x="45" y="174"/>
                  <a:pt x="45" y="174"/>
                </a:cubicBezTo>
                <a:cubicBezTo>
                  <a:pt x="45" y="163"/>
                  <a:pt x="45" y="163"/>
                  <a:pt x="45" y="163"/>
                </a:cubicBezTo>
                <a:cubicBezTo>
                  <a:pt x="121" y="165"/>
                  <a:pt x="121" y="165"/>
                  <a:pt x="121" y="165"/>
                </a:cubicBezTo>
                <a:cubicBezTo>
                  <a:pt x="197" y="163"/>
                  <a:pt x="197" y="163"/>
                  <a:pt x="197" y="163"/>
                </a:cubicBezTo>
                <a:cubicBezTo>
                  <a:pt x="197" y="174"/>
                  <a:pt x="197" y="174"/>
                  <a:pt x="197" y="174"/>
                </a:cubicBezTo>
                <a:cubicBezTo>
                  <a:pt x="234" y="174"/>
                  <a:pt x="234" y="174"/>
                  <a:pt x="234" y="174"/>
                </a:cubicBezTo>
                <a:cubicBezTo>
                  <a:pt x="234" y="162"/>
                  <a:pt x="234" y="162"/>
                  <a:pt x="234" y="162"/>
                </a:cubicBezTo>
                <a:cubicBezTo>
                  <a:pt x="237" y="91"/>
                  <a:pt x="237" y="91"/>
                  <a:pt x="237" y="91"/>
                </a:cubicBezTo>
                <a:cubicBezTo>
                  <a:pt x="237" y="86"/>
                  <a:pt x="236" y="82"/>
                  <a:pt x="233" y="78"/>
                </a:cubicBezTo>
                <a:cubicBezTo>
                  <a:pt x="217" y="54"/>
                  <a:pt x="217" y="54"/>
                  <a:pt x="217" y="54"/>
                </a:cubicBezTo>
                <a:cubicBezTo>
                  <a:pt x="217" y="54"/>
                  <a:pt x="217" y="54"/>
                  <a:pt x="217" y="54"/>
                </a:cubicBezTo>
                <a:cubicBezTo>
                  <a:pt x="218" y="50"/>
                  <a:pt x="220" y="48"/>
                  <a:pt x="223" y="48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37" y="48"/>
                  <a:pt x="242" y="44"/>
                  <a:pt x="242" y="38"/>
                </a:cubicBezTo>
                <a:cubicBezTo>
                  <a:pt x="242" y="38"/>
                  <a:pt x="242" y="38"/>
                  <a:pt x="242" y="38"/>
                </a:cubicBezTo>
                <a:cubicBezTo>
                  <a:pt x="242" y="35"/>
                  <a:pt x="239" y="33"/>
                  <a:pt x="236" y="33"/>
                </a:cubicBezTo>
                <a:close/>
                <a:moveTo>
                  <a:pt x="47" y="30"/>
                </a:moveTo>
                <a:cubicBezTo>
                  <a:pt x="51" y="17"/>
                  <a:pt x="62" y="9"/>
                  <a:pt x="75" y="9"/>
                </a:cubicBezTo>
                <a:cubicBezTo>
                  <a:pt x="167" y="9"/>
                  <a:pt x="167" y="9"/>
                  <a:pt x="167" y="9"/>
                </a:cubicBezTo>
                <a:cubicBezTo>
                  <a:pt x="180" y="9"/>
                  <a:pt x="192" y="17"/>
                  <a:pt x="196" y="30"/>
                </a:cubicBezTo>
                <a:cubicBezTo>
                  <a:pt x="202" y="49"/>
                  <a:pt x="202" y="49"/>
                  <a:pt x="202" y="49"/>
                </a:cubicBezTo>
                <a:cubicBezTo>
                  <a:pt x="164" y="50"/>
                  <a:pt x="164" y="50"/>
                  <a:pt x="164" y="50"/>
                </a:cubicBezTo>
                <a:cubicBezTo>
                  <a:pt x="164" y="49"/>
                  <a:pt x="161" y="47"/>
                  <a:pt x="159" y="47"/>
                </a:cubicBezTo>
                <a:cubicBezTo>
                  <a:pt x="83" y="47"/>
                  <a:pt x="83" y="47"/>
                  <a:pt x="83" y="47"/>
                </a:cubicBezTo>
                <a:cubicBezTo>
                  <a:pt x="82" y="47"/>
                  <a:pt x="79" y="49"/>
                  <a:pt x="79" y="50"/>
                </a:cubicBezTo>
                <a:cubicBezTo>
                  <a:pt x="40" y="49"/>
                  <a:pt x="40" y="49"/>
                  <a:pt x="40" y="49"/>
                </a:cubicBezTo>
                <a:lnTo>
                  <a:pt x="47" y="30"/>
                </a:lnTo>
                <a:close/>
                <a:moveTo>
                  <a:pt x="24" y="108"/>
                </a:moveTo>
                <a:cubicBezTo>
                  <a:pt x="22" y="108"/>
                  <a:pt x="20" y="107"/>
                  <a:pt x="19" y="105"/>
                </a:cubicBezTo>
                <a:cubicBezTo>
                  <a:pt x="18" y="103"/>
                  <a:pt x="17" y="101"/>
                  <a:pt x="18" y="99"/>
                </a:cubicBezTo>
                <a:cubicBezTo>
                  <a:pt x="19" y="90"/>
                  <a:pt x="19" y="90"/>
                  <a:pt x="19" y="90"/>
                </a:cubicBezTo>
                <a:cubicBezTo>
                  <a:pt x="19" y="88"/>
                  <a:pt x="21" y="86"/>
                  <a:pt x="22" y="85"/>
                </a:cubicBezTo>
                <a:cubicBezTo>
                  <a:pt x="24" y="84"/>
                  <a:pt x="26" y="84"/>
                  <a:pt x="28" y="84"/>
                </a:cubicBezTo>
                <a:cubicBezTo>
                  <a:pt x="62" y="88"/>
                  <a:pt x="62" y="88"/>
                  <a:pt x="62" y="88"/>
                </a:cubicBezTo>
                <a:cubicBezTo>
                  <a:pt x="68" y="89"/>
                  <a:pt x="72" y="99"/>
                  <a:pt x="71" y="105"/>
                </a:cubicBezTo>
                <a:cubicBezTo>
                  <a:pt x="70" y="108"/>
                  <a:pt x="67" y="110"/>
                  <a:pt x="64" y="110"/>
                </a:cubicBezTo>
                <a:lnTo>
                  <a:pt x="24" y="108"/>
                </a:lnTo>
                <a:close/>
                <a:moveTo>
                  <a:pt x="220" y="85"/>
                </a:moveTo>
                <a:cubicBezTo>
                  <a:pt x="222" y="86"/>
                  <a:pt x="223" y="88"/>
                  <a:pt x="223" y="90"/>
                </a:cubicBezTo>
                <a:cubicBezTo>
                  <a:pt x="225" y="99"/>
                  <a:pt x="225" y="99"/>
                  <a:pt x="225" y="99"/>
                </a:cubicBezTo>
                <a:cubicBezTo>
                  <a:pt x="225" y="101"/>
                  <a:pt x="225" y="103"/>
                  <a:pt x="223" y="105"/>
                </a:cubicBezTo>
                <a:cubicBezTo>
                  <a:pt x="222" y="107"/>
                  <a:pt x="220" y="108"/>
                  <a:pt x="218" y="108"/>
                </a:cubicBezTo>
                <a:cubicBezTo>
                  <a:pt x="178" y="110"/>
                  <a:pt x="178" y="110"/>
                  <a:pt x="178" y="110"/>
                </a:cubicBezTo>
                <a:cubicBezTo>
                  <a:pt x="175" y="110"/>
                  <a:pt x="172" y="108"/>
                  <a:pt x="172" y="105"/>
                </a:cubicBezTo>
                <a:cubicBezTo>
                  <a:pt x="171" y="99"/>
                  <a:pt x="175" y="89"/>
                  <a:pt x="181" y="88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6" y="84"/>
                  <a:pt x="218" y="84"/>
                  <a:pt x="220" y="8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0" name="Oval 509"/>
          <p:cNvSpPr/>
          <p:nvPr/>
        </p:nvSpPr>
        <p:spPr bwMode="gray">
          <a:xfrm>
            <a:off x="4504995" y="2303859"/>
            <a:ext cx="44577" cy="34895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11" name="Oval 510"/>
          <p:cNvSpPr/>
          <p:nvPr/>
        </p:nvSpPr>
        <p:spPr bwMode="gray">
          <a:xfrm>
            <a:off x="4641298" y="2270800"/>
            <a:ext cx="32398" cy="25361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12" name="Freeform 30"/>
          <p:cNvSpPr>
            <a:spLocks/>
          </p:cNvSpPr>
          <p:nvPr/>
        </p:nvSpPr>
        <p:spPr bwMode="gray">
          <a:xfrm>
            <a:off x="4649586" y="2215118"/>
            <a:ext cx="68771" cy="15321"/>
          </a:xfrm>
          <a:custGeom>
            <a:avLst/>
            <a:gdLst>
              <a:gd name="T0" fmla="*/ 211 w 216"/>
              <a:gd name="T1" fmla="*/ 56 h 61"/>
              <a:gd name="T2" fmla="*/ 211 w 216"/>
              <a:gd name="T3" fmla="*/ 40 h 61"/>
              <a:gd name="T4" fmla="*/ 108 w 216"/>
              <a:gd name="T5" fmla="*/ 0 h 61"/>
              <a:gd name="T6" fmla="*/ 5 w 216"/>
              <a:gd name="T7" fmla="*/ 40 h 61"/>
              <a:gd name="T8" fmla="*/ 4 w 216"/>
              <a:gd name="T9" fmla="*/ 56 h 61"/>
              <a:gd name="T10" fmla="*/ 21 w 216"/>
              <a:gd name="T11" fmla="*/ 57 h 61"/>
              <a:gd name="T12" fmla="*/ 108 w 216"/>
              <a:gd name="T13" fmla="*/ 23 h 61"/>
              <a:gd name="T14" fmla="*/ 195 w 216"/>
              <a:gd name="T15" fmla="*/ 57 h 61"/>
              <a:gd name="T16" fmla="*/ 211 w 216"/>
              <a:gd name="T17" fmla="*/ 56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6" h="61">
                <a:moveTo>
                  <a:pt x="211" y="56"/>
                </a:moveTo>
                <a:cubicBezTo>
                  <a:pt x="216" y="51"/>
                  <a:pt x="216" y="44"/>
                  <a:pt x="211" y="40"/>
                </a:cubicBezTo>
                <a:cubicBezTo>
                  <a:pt x="184" y="15"/>
                  <a:pt x="148" y="0"/>
                  <a:pt x="108" y="0"/>
                </a:cubicBezTo>
                <a:cubicBezTo>
                  <a:pt x="68" y="0"/>
                  <a:pt x="31" y="15"/>
                  <a:pt x="5" y="40"/>
                </a:cubicBezTo>
                <a:cubicBezTo>
                  <a:pt x="0" y="44"/>
                  <a:pt x="0" y="51"/>
                  <a:pt x="4" y="56"/>
                </a:cubicBezTo>
                <a:cubicBezTo>
                  <a:pt x="9" y="61"/>
                  <a:pt x="16" y="61"/>
                  <a:pt x="21" y="57"/>
                </a:cubicBezTo>
                <a:cubicBezTo>
                  <a:pt x="43" y="36"/>
                  <a:pt x="74" y="23"/>
                  <a:pt x="108" y="23"/>
                </a:cubicBezTo>
                <a:cubicBezTo>
                  <a:pt x="142" y="23"/>
                  <a:pt x="173" y="36"/>
                  <a:pt x="195" y="57"/>
                </a:cubicBezTo>
                <a:cubicBezTo>
                  <a:pt x="200" y="61"/>
                  <a:pt x="207" y="61"/>
                  <a:pt x="211" y="5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3" name="Freeform 31"/>
          <p:cNvSpPr>
            <a:spLocks/>
          </p:cNvSpPr>
          <p:nvPr/>
        </p:nvSpPr>
        <p:spPr bwMode="gray">
          <a:xfrm>
            <a:off x="4656557" y="2228129"/>
            <a:ext cx="54829" cy="13012"/>
          </a:xfrm>
          <a:custGeom>
            <a:avLst/>
            <a:gdLst>
              <a:gd name="T0" fmla="*/ 167 w 172"/>
              <a:gd name="T1" fmla="*/ 47 h 52"/>
              <a:gd name="T2" fmla="*/ 167 w 172"/>
              <a:gd name="T3" fmla="*/ 31 h 52"/>
              <a:gd name="T4" fmla="*/ 86 w 172"/>
              <a:gd name="T5" fmla="*/ 0 h 52"/>
              <a:gd name="T6" fmla="*/ 5 w 172"/>
              <a:gd name="T7" fmla="*/ 31 h 52"/>
              <a:gd name="T8" fmla="*/ 5 w 172"/>
              <a:gd name="T9" fmla="*/ 47 h 52"/>
              <a:gd name="T10" fmla="*/ 21 w 172"/>
              <a:gd name="T11" fmla="*/ 48 h 52"/>
              <a:gd name="T12" fmla="*/ 86 w 172"/>
              <a:gd name="T13" fmla="*/ 23 h 52"/>
              <a:gd name="T14" fmla="*/ 151 w 172"/>
              <a:gd name="T15" fmla="*/ 48 h 52"/>
              <a:gd name="T16" fmla="*/ 167 w 172"/>
              <a:gd name="T17" fmla="*/ 47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2" h="52">
                <a:moveTo>
                  <a:pt x="167" y="47"/>
                </a:moveTo>
                <a:cubicBezTo>
                  <a:pt x="172" y="43"/>
                  <a:pt x="171" y="35"/>
                  <a:pt x="167" y="31"/>
                </a:cubicBezTo>
                <a:cubicBezTo>
                  <a:pt x="146" y="12"/>
                  <a:pt x="117" y="0"/>
                  <a:pt x="86" y="0"/>
                </a:cubicBezTo>
                <a:cubicBezTo>
                  <a:pt x="55" y="0"/>
                  <a:pt x="26" y="12"/>
                  <a:pt x="5" y="31"/>
                </a:cubicBezTo>
                <a:cubicBezTo>
                  <a:pt x="1" y="35"/>
                  <a:pt x="0" y="43"/>
                  <a:pt x="5" y="47"/>
                </a:cubicBezTo>
                <a:cubicBezTo>
                  <a:pt x="9" y="52"/>
                  <a:pt x="16" y="52"/>
                  <a:pt x="21" y="48"/>
                </a:cubicBezTo>
                <a:cubicBezTo>
                  <a:pt x="37" y="32"/>
                  <a:pt x="60" y="23"/>
                  <a:pt x="86" y="23"/>
                </a:cubicBezTo>
                <a:cubicBezTo>
                  <a:pt x="111" y="23"/>
                  <a:pt x="134" y="32"/>
                  <a:pt x="151" y="48"/>
                </a:cubicBezTo>
                <a:cubicBezTo>
                  <a:pt x="156" y="52"/>
                  <a:pt x="163" y="52"/>
                  <a:pt x="167" y="47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4" name="Freeform 32"/>
          <p:cNvSpPr>
            <a:spLocks/>
          </p:cNvSpPr>
          <p:nvPr/>
        </p:nvSpPr>
        <p:spPr bwMode="gray">
          <a:xfrm>
            <a:off x="4663929" y="2240932"/>
            <a:ext cx="40082" cy="10914"/>
          </a:xfrm>
          <a:custGeom>
            <a:avLst/>
            <a:gdLst>
              <a:gd name="T0" fmla="*/ 4 w 126"/>
              <a:gd name="T1" fmla="*/ 23 h 44"/>
              <a:gd name="T2" fmla="*/ 4 w 126"/>
              <a:gd name="T3" fmla="*/ 39 h 44"/>
              <a:gd name="T4" fmla="*/ 20 w 126"/>
              <a:gd name="T5" fmla="*/ 40 h 44"/>
              <a:gd name="T6" fmla="*/ 63 w 126"/>
              <a:gd name="T7" fmla="*/ 23 h 44"/>
              <a:gd name="T8" fmla="*/ 106 w 126"/>
              <a:gd name="T9" fmla="*/ 40 h 44"/>
              <a:gd name="T10" fmla="*/ 122 w 126"/>
              <a:gd name="T11" fmla="*/ 39 h 44"/>
              <a:gd name="T12" fmla="*/ 121 w 126"/>
              <a:gd name="T13" fmla="*/ 23 h 44"/>
              <a:gd name="T14" fmla="*/ 63 w 126"/>
              <a:gd name="T15" fmla="*/ 0 h 44"/>
              <a:gd name="T16" fmla="*/ 4 w 126"/>
              <a:gd name="T17" fmla="*/ 2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6" h="44">
                <a:moveTo>
                  <a:pt x="4" y="23"/>
                </a:moveTo>
                <a:cubicBezTo>
                  <a:pt x="0" y="27"/>
                  <a:pt x="0" y="35"/>
                  <a:pt x="4" y="39"/>
                </a:cubicBezTo>
                <a:cubicBezTo>
                  <a:pt x="8" y="44"/>
                  <a:pt x="16" y="44"/>
                  <a:pt x="20" y="40"/>
                </a:cubicBezTo>
                <a:cubicBezTo>
                  <a:pt x="31" y="30"/>
                  <a:pt x="46" y="23"/>
                  <a:pt x="63" y="23"/>
                </a:cubicBezTo>
                <a:cubicBezTo>
                  <a:pt x="80" y="23"/>
                  <a:pt x="95" y="30"/>
                  <a:pt x="106" y="40"/>
                </a:cubicBezTo>
                <a:cubicBezTo>
                  <a:pt x="110" y="44"/>
                  <a:pt x="118" y="44"/>
                  <a:pt x="122" y="39"/>
                </a:cubicBezTo>
                <a:cubicBezTo>
                  <a:pt x="126" y="35"/>
                  <a:pt x="126" y="27"/>
                  <a:pt x="121" y="23"/>
                </a:cubicBezTo>
                <a:cubicBezTo>
                  <a:pt x="106" y="9"/>
                  <a:pt x="86" y="0"/>
                  <a:pt x="63" y="0"/>
                </a:cubicBezTo>
                <a:cubicBezTo>
                  <a:pt x="40" y="0"/>
                  <a:pt x="20" y="9"/>
                  <a:pt x="4" y="2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5" name="Freeform 514"/>
          <p:cNvSpPr/>
          <p:nvPr/>
        </p:nvSpPr>
        <p:spPr>
          <a:xfrm>
            <a:off x="4549244" y="2292530"/>
            <a:ext cx="96079" cy="73610"/>
          </a:xfrm>
          <a:custGeom>
            <a:avLst/>
            <a:gdLst>
              <a:gd name="connsiteX0" fmla="*/ 223838 w 223838"/>
              <a:gd name="connsiteY0" fmla="*/ 150019 h 219075"/>
              <a:gd name="connsiteX1" fmla="*/ 154781 w 223838"/>
              <a:gd name="connsiteY1" fmla="*/ 0 h 219075"/>
              <a:gd name="connsiteX2" fmla="*/ 45244 w 223838"/>
              <a:gd name="connsiteY2" fmla="*/ 7144 h 219075"/>
              <a:gd name="connsiteX3" fmla="*/ 0 w 223838"/>
              <a:gd name="connsiteY3" fmla="*/ 219075 h 219075"/>
              <a:gd name="connsiteX4" fmla="*/ 223838 w 223838"/>
              <a:gd name="connsiteY4" fmla="*/ 150019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3838" h="219075">
                <a:moveTo>
                  <a:pt x="223838" y="150019"/>
                </a:moveTo>
                <a:lnTo>
                  <a:pt x="154781" y="0"/>
                </a:lnTo>
                <a:lnTo>
                  <a:pt x="45244" y="7144"/>
                </a:lnTo>
                <a:lnTo>
                  <a:pt x="0" y="219075"/>
                </a:lnTo>
                <a:lnTo>
                  <a:pt x="223838" y="150019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16" name="Freeform 54"/>
          <p:cNvSpPr>
            <a:spLocks noEditPoints="1"/>
          </p:cNvSpPr>
          <p:nvPr/>
        </p:nvSpPr>
        <p:spPr bwMode="gray">
          <a:xfrm>
            <a:off x="4413412" y="2289586"/>
            <a:ext cx="268068" cy="151232"/>
          </a:xfrm>
          <a:custGeom>
            <a:avLst/>
            <a:gdLst>
              <a:gd name="T0" fmla="*/ 219 w 242"/>
              <a:gd name="T1" fmla="*/ 33 h 174"/>
              <a:gd name="T2" fmla="*/ 211 w 242"/>
              <a:gd name="T3" fmla="*/ 38 h 174"/>
              <a:gd name="T4" fmla="*/ 201 w 242"/>
              <a:gd name="T5" fmla="*/ 25 h 174"/>
              <a:gd name="T6" fmla="*/ 75 w 242"/>
              <a:gd name="T7" fmla="*/ 0 h 174"/>
              <a:gd name="T8" fmla="*/ 33 w 242"/>
              <a:gd name="T9" fmla="*/ 51 h 174"/>
              <a:gd name="T10" fmla="*/ 25 w 242"/>
              <a:gd name="T11" fmla="*/ 33 h 174"/>
              <a:gd name="T12" fmla="*/ 6 w 242"/>
              <a:gd name="T13" fmla="*/ 33 h 174"/>
              <a:gd name="T14" fmla="*/ 0 w 242"/>
              <a:gd name="T15" fmla="*/ 38 h 174"/>
              <a:gd name="T16" fmla="*/ 18 w 242"/>
              <a:gd name="T17" fmla="*/ 48 h 174"/>
              <a:gd name="T18" fmla="*/ 25 w 242"/>
              <a:gd name="T19" fmla="*/ 54 h 174"/>
              <a:gd name="T20" fmla="*/ 5 w 242"/>
              <a:gd name="T21" fmla="*/ 91 h 174"/>
              <a:gd name="T22" fmla="*/ 8 w 242"/>
              <a:gd name="T23" fmla="*/ 174 h 174"/>
              <a:gd name="T24" fmla="*/ 45 w 242"/>
              <a:gd name="T25" fmla="*/ 163 h 174"/>
              <a:gd name="T26" fmla="*/ 197 w 242"/>
              <a:gd name="T27" fmla="*/ 163 h 174"/>
              <a:gd name="T28" fmla="*/ 234 w 242"/>
              <a:gd name="T29" fmla="*/ 174 h 174"/>
              <a:gd name="T30" fmla="*/ 237 w 242"/>
              <a:gd name="T31" fmla="*/ 91 h 174"/>
              <a:gd name="T32" fmla="*/ 217 w 242"/>
              <a:gd name="T33" fmla="*/ 54 h 174"/>
              <a:gd name="T34" fmla="*/ 223 w 242"/>
              <a:gd name="T35" fmla="*/ 48 h 174"/>
              <a:gd name="T36" fmla="*/ 242 w 242"/>
              <a:gd name="T37" fmla="*/ 38 h 174"/>
              <a:gd name="T38" fmla="*/ 236 w 242"/>
              <a:gd name="T39" fmla="*/ 33 h 174"/>
              <a:gd name="T40" fmla="*/ 75 w 242"/>
              <a:gd name="T41" fmla="*/ 9 h 174"/>
              <a:gd name="T42" fmla="*/ 196 w 242"/>
              <a:gd name="T43" fmla="*/ 30 h 174"/>
              <a:gd name="T44" fmla="*/ 164 w 242"/>
              <a:gd name="T45" fmla="*/ 50 h 174"/>
              <a:gd name="T46" fmla="*/ 83 w 242"/>
              <a:gd name="T47" fmla="*/ 47 h 174"/>
              <a:gd name="T48" fmla="*/ 40 w 242"/>
              <a:gd name="T49" fmla="*/ 49 h 174"/>
              <a:gd name="T50" fmla="*/ 24 w 242"/>
              <a:gd name="T51" fmla="*/ 108 h 174"/>
              <a:gd name="T52" fmla="*/ 18 w 242"/>
              <a:gd name="T53" fmla="*/ 99 h 174"/>
              <a:gd name="T54" fmla="*/ 22 w 242"/>
              <a:gd name="T55" fmla="*/ 85 h 174"/>
              <a:gd name="T56" fmla="*/ 62 w 242"/>
              <a:gd name="T57" fmla="*/ 88 h 174"/>
              <a:gd name="T58" fmla="*/ 64 w 242"/>
              <a:gd name="T59" fmla="*/ 110 h 174"/>
              <a:gd name="T60" fmla="*/ 220 w 242"/>
              <a:gd name="T61" fmla="*/ 85 h 174"/>
              <a:gd name="T62" fmla="*/ 225 w 242"/>
              <a:gd name="T63" fmla="*/ 99 h 174"/>
              <a:gd name="T64" fmla="*/ 218 w 242"/>
              <a:gd name="T65" fmla="*/ 108 h 174"/>
              <a:gd name="T66" fmla="*/ 172 w 242"/>
              <a:gd name="T67" fmla="*/ 105 h 174"/>
              <a:gd name="T68" fmla="*/ 214 w 242"/>
              <a:gd name="T69" fmla="*/ 84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42" h="174">
                <a:moveTo>
                  <a:pt x="236" y="33"/>
                </a:moveTo>
                <a:cubicBezTo>
                  <a:pt x="219" y="33"/>
                  <a:pt x="219" y="33"/>
                  <a:pt x="219" y="33"/>
                </a:cubicBezTo>
                <a:cubicBezTo>
                  <a:pt x="217" y="33"/>
                  <a:pt x="217" y="33"/>
                  <a:pt x="217" y="33"/>
                </a:cubicBezTo>
                <a:cubicBezTo>
                  <a:pt x="214" y="33"/>
                  <a:pt x="211" y="35"/>
                  <a:pt x="211" y="38"/>
                </a:cubicBezTo>
                <a:cubicBezTo>
                  <a:pt x="209" y="50"/>
                  <a:pt x="209" y="50"/>
                  <a:pt x="209" y="50"/>
                </a:cubicBezTo>
                <a:cubicBezTo>
                  <a:pt x="201" y="25"/>
                  <a:pt x="201" y="25"/>
                  <a:pt x="201" y="25"/>
                </a:cubicBezTo>
                <a:cubicBezTo>
                  <a:pt x="196" y="10"/>
                  <a:pt x="182" y="0"/>
                  <a:pt x="167" y="0"/>
                </a:cubicBezTo>
                <a:cubicBezTo>
                  <a:pt x="75" y="0"/>
                  <a:pt x="75" y="0"/>
                  <a:pt x="75" y="0"/>
                </a:cubicBezTo>
                <a:cubicBezTo>
                  <a:pt x="60" y="0"/>
                  <a:pt x="46" y="10"/>
                  <a:pt x="42" y="25"/>
                </a:cubicBezTo>
                <a:cubicBezTo>
                  <a:pt x="33" y="51"/>
                  <a:pt x="33" y="51"/>
                  <a:pt x="33" y="51"/>
                </a:cubicBezTo>
                <a:cubicBezTo>
                  <a:pt x="31" y="38"/>
                  <a:pt x="31" y="38"/>
                  <a:pt x="31" y="38"/>
                </a:cubicBezTo>
                <a:cubicBezTo>
                  <a:pt x="31" y="35"/>
                  <a:pt x="28" y="33"/>
                  <a:pt x="25" y="33"/>
                </a:cubicBezTo>
                <a:cubicBezTo>
                  <a:pt x="23" y="33"/>
                  <a:pt x="23" y="33"/>
                  <a:pt x="23" y="33"/>
                </a:cubicBezTo>
                <a:cubicBezTo>
                  <a:pt x="6" y="33"/>
                  <a:pt x="6" y="33"/>
                  <a:pt x="6" y="33"/>
                </a:cubicBezTo>
                <a:cubicBezTo>
                  <a:pt x="3" y="33"/>
                  <a:pt x="0" y="35"/>
                  <a:pt x="0" y="38"/>
                </a:cubicBezTo>
                <a:cubicBezTo>
                  <a:pt x="0" y="38"/>
                  <a:pt x="0" y="38"/>
                  <a:pt x="0" y="38"/>
                </a:cubicBezTo>
                <a:cubicBezTo>
                  <a:pt x="0" y="44"/>
                  <a:pt x="4" y="48"/>
                  <a:pt x="10" y="48"/>
                </a:cubicBezTo>
                <a:cubicBezTo>
                  <a:pt x="18" y="48"/>
                  <a:pt x="18" y="48"/>
                  <a:pt x="18" y="48"/>
                </a:cubicBezTo>
                <a:cubicBezTo>
                  <a:pt x="22" y="48"/>
                  <a:pt x="24" y="50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9" y="78"/>
                  <a:pt x="9" y="78"/>
                  <a:pt x="9" y="78"/>
                </a:cubicBezTo>
                <a:cubicBezTo>
                  <a:pt x="6" y="82"/>
                  <a:pt x="5" y="86"/>
                  <a:pt x="5" y="91"/>
                </a:cubicBezTo>
                <a:cubicBezTo>
                  <a:pt x="8" y="162"/>
                  <a:pt x="8" y="162"/>
                  <a:pt x="8" y="162"/>
                </a:cubicBezTo>
                <a:cubicBezTo>
                  <a:pt x="8" y="174"/>
                  <a:pt x="8" y="174"/>
                  <a:pt x="8" y="174"/>
                </a:cubicBezTo>
                <a:cubicBezTo>
                  <a:pt x="45" y="174"/>
                  <a:pt x="45" y="174"/>
                  <a:pt x="45" y="174"/>
                </a:cubicBezTo>
                <a:cubicBezTo>
                  <a:pt x="45" y="163"/>
                  <a:pt x="45" y="163"/>
                  <a:pt x="45" y="163"/>
                </a:cubicBezTo>
                <a:cubicBezTo>
                  <a:pt x="121" y="165"/>
                  <a:pt x="121" y="165"/>
                  <a:pt x="121" y="165"/>
                </a:cubicBezTo>
                <a:cubicBezTo>
                  <a:pt x="197" y="163"/>
                  <a:pt x="197" y="163"/>
                  <a:pt x="197" y="163"/>
                </a:cubicBezTo>
                <a:cubicBezTo>
                  <a:pt x="197" y="174"/>
                  <a:pt x="197" y="174"/>
                  <a:pt x="197" y="174"/>
                </a:cubicBezTo>
                <a:cubicBezTo>
                  <a:pt x="234" y="174"/>
                  <a:pt x="234" y="174"/>
                  <a:pt x="234" y="174"/>
                </a:cubicBezTo>
                <a:cubicBezTo>
                  <a:pt x="234" y="162"/>
                  <a:pt x="234" y="162"/>
                  <a:pt x="234" y="162"/>
                </a:cubicBezTo>
                <a:cubicBezTo>
                  <a:pt x="237" y="91"/>
                  <a:pt x="237" y="91"/>
                  <a:pt x="237" y="91"/>
                </a:cubicBezTo>
                <a:cubicBezTo>
                  <a:pt x="237" y="86"/>
                  <a:pt x="236" y="82"/>
                  <a:pt x="233" y="78"/>
                </a:cubicBezTo>
                <a:cubicBezTo>
                  <a:pt x="217" y="54"/>
                  <a:pt x="217" y="54"/>
                  <a:pt x="217" y="54"/>
                </a:cubicBezTo>
                <a:cubicBezTo>
                  <a:pt x="217" y="54"/>
                  <a:pt x="217" y="54"/>
                  <a:pt x="217" y="54"/>
                </a:cubicBezTo>
                <a:cubicBezTo>
                  <a:pt x="218" y="50"/>
                  <a:pt x="220" y="48"/>
                  <a:pt x="223" y="48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37" y="48"/>
                  <a:pt x="242" y="44"/>
                  <a:pt x="242" y="38"/>
                </a:cubicBezTo>
                <a:cubicBezTo>
                  <a:pt x="242" y="38"/>
                  <a:pt x="242" y="38"/>
                  <a:pt x="242" y="38"/>
                </a:cubicBezTo>
                <a:cubicBezTo>
                  <a:pt x="242" y="35"/>
                  <a:pt x="239" y="33"/>
                  <a:pt x="236" y="33"/>
                </a:cubicBezTo>
                <a:close/>
                <a:moveTo>
                  <a:pt x="47" y="30"/>
                </a:moveTo>
                <a:cubicBezTo>
                  <a:pt x="51" y="17"/>
                  <a:pt x="62" y="9"/>
                  <a:pt x="75" y="9"/>
                </a:cubicBezTo>
                <a:cubicBezTo>
                  <a:pt x="167" y="9"/>
                  <a:pt x="167" y="9"/>
                  <a:pt x="167" y="9"/>
                </a:cubicBezTo>
                <a:cubicBezTo>
                  <a:pt x="180" y="9"/>
                  <a:pt x="192" y="17"/>
                  <a:pt x="196" y="30"/>
                </a:cubicBezTo>
                <a:cubicBezTo>
                  <a:pt x="202" y="49"/>
                  <a:pt x="202" y="49"/>
                  <a:pt x="202" y="49"/>
                </a:cubicBezTo>
                <a:cubicBezTo>
                  <a:pt x="164" y="50"/>
                  <a:pt x="164" y="50"/>
                  <a:pt x="164" y="50"/>
                </a:cubicBezTo>
                <a:cubicBezTo>
                  <a:pt x="164" y="49"/>
                  <a:pt x="161" y="47"/>
                  <a:pt x="159" y="47"/>
                </a:cubicBezTo>
                <a:cubicBezTo>
                  <a:pt x="83" y="47"/>
                  <a:pt x="83" y="47"/>
                  <a:pt x="83" y="47"/>
                </a:cubicBezTo>
                <a:cubicBezTo>
                  <a:pt x="82" y="47"/>
                  <a:pt x="79" y="49"/>
                  <a:pt x="79" y="50"/>
                </a:cubicBezTo>
                <a:cubicBezTo>
                  <a:pt x="40" y="49"/>
                  <a:pt x="40" y="49"/>
                  <a:pt x="40" y="49"/>
                </a:cubicBezTo>
                <a:lnTo>
                  <a:pt x="47" y="30"/>
                </a:lnTo>
                <a:close/>
                <a:moveTo>
                  <a:pt x="24" y="108"/>
                </a:moveTo>
                <a:cubicBezTo>
                  <a:pt x="22" y="108"/>
                  <a:pt x="20" y="107"/>
                  <a:pt x="19" y="105"/>
                </a:cubicBezTo>
                <a:cubicBezTo>
                  <a:pt x="18" y="103"/>
                  <a:pt x="17" y="101"/>
                  <a:pt x="18" y="99"/>
                </a:cubicBezTo>
                <a:cubicBezTo>
                  <a:pt x="19" y="90"/>
                  <a:pt x="19" y="90"/>
                  <a:pt x="19" y="90"/>
                </a:cubicBezTo>
                <a:cubicBezTo>
                  <a:pt x="19" y="88"/>
                  <a:pt x="21" y="86"/>
                  <a:pt x="22" y="85"/>
                </a:cubicBezTo>
                <a:cubicBezTo>
                  <a:pt x="24" y="84"/>
                  <a:pt x="26" y="84"/>
                  <a:pt x="28" y="84"/>
                </a:cubicBezTo>
                <a:cubicBezTo>
                  <a:pt x="62" y="88"/>
                  <a:pt x="62" y="88"/>
                  <a:pt x="62" y="88"/>
                </a:cubicBezTo>
                <a:cubicBezTo>
                  <a:pt x="68" y="89"/>
                  <a:pt x="72" y="99"/>
                  <a:pt x="71" y="105"/>
                </a:cubicBezTo>
                <a:cubicBezTo>
                  <a:pt x="70" y="108"/>
                  <a:pt x="67" y="110"/>
                  <a:pt x="64" y="110"/>
                </a:cubicBezTo>
                <a:lnTo>
                  <a:pt x="24" y="108"/>
                </a:lnTo>
                <a:close/>
                <a:moveTo>
                  <a:pt x="220" y="85"/>
                </a:moveTo>
                <a:cubicBezTo>
                  <a:pt x="222" y="86"/>
                  <a:pt x="223" y="88"/>
                  <a:pt x="223" y="90"/>
                </a:cubicBezTo>
                <a:cubicBezTo>
                  <a:pt x="225" y="99"/>
                  <a:pt x="225" y="99"/>
                  <a:pt x="225" y="99"/>
                </a:cubicBezTo>
                <a:cubicBezTo>
                  <a:pt x="225" y="101"/>
                  <a:pt x="225" y="103"/>
                  <a:pt x="223" y="105"/>
                </a:cubicBezTo>
                <a:cubicBezTo>
                  <a:pt x="222" y="107"/>
                  <a:pt x="220" y="108"/>
                  <a:pt x="218" y="108"/>
                </a:cubicBezTo>
                <a:cubicBezTo>
                  <a:pt x="178" y="110"/>
                  <a:pt x="178" y="110"/>
                  <a:pt x="178" y="110"/>
                </a:cubicBezTo>
                <a:cubicBezTo>
                  <a:pt x="175" y="110"/>
                  <a:pt x="172" y="108"/>
                  <a:pt x="172" y="105"/>
                </a:cubicBezTo>
                <a:cubicBezTo>
                  <a:pt x="171" y="99"/>
                  <a:pt x="175" y="89"/>
                  <a:pt x="181" y="88"/>
                </a:cubicBezTo>
                <a:cubicBezTo>
                  <a:pt x="214" y="84"/>
                  <a:pt x="214" y="84"/>
                  <a:pt x="214" y="84"/>
                </a:cubicBezTo>
                <a:cubicBezTo>
                  <a:pt x="216" y="84"/>
                  <a:pt x="218" y="84"/>
                  <a:pt x="220" y="85"/>
                </a:cubicBezTo>
                <a:close/>
              </a:path>
            </a:pathLst>
          </a:custGeom>
          <a:solidFill>
            <a:schemeClr val="bg2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926092" y="2091881"/>
            <a:ext cx="358526" cy="319930"/>
            <a:chOff x="1386350" y="2301056"/>
            <a:chExt cx="600156" cy="535548"/>
          </a:xfrm>
        </p:grpSpPr>
        <p:sp>
          <p:nvSpPr>
            <p:cNvPr id="160" name="Freeform 118"/>
            <p:cNvSpPr>
              <a:spLocks noEditPoints="1"/>
            </p:cNvSpPr>
            <p:nvPr/>
          </p:nvSpPr>
          <p:spPr bwMode="auto">
            <a:xfrm>
              <a:off x="1627980" y="2301056"/>
              <a:ext cx="358526" cy="351391"/>
            </a:xfrm>
            <a:custGeom>
              <a:avLst/>
              <a:gdLst>
                <a:gd name="T0" fmla="*/ 217 w 217"/>
                <a:gd name="T1" fmla="*/ 88 h 217"/>
                <a:gd name="T2" fmla="*/ 195 w 217"/>
                <a:gd name="T3" fmla="*/ 88 h 217"/>
                <a:gd name="T4" fmla="*/ 181 w 217"/>
                <a:gd name="T5" fmla="*/ 78 h 217"/>
                <a:gd name="T6" fmla="*/ 184 w 217"/>
                <a:gd name="T7" fmla="*/ 61 h 217"/>
                <a:gd name="T8" fmla="*/ 200 w 217"/>
                <a:gd name="T9" fmla="*/ 46 h 217"/>
                <a:gd name="T10" fmla="*/ 171 w 217"/>
                <a:gd name="T11" fmla="*/ 17 h 217"/>
                <a:gd name="T12" fmla="*/ 156 w 217"/>
                <a:gd name="T13" fmla="*/ 32 h 217"/>
                <a:gd name="T14" fmla="*/ 138 w 217"/>
                <a:gd name="T15" fmla="*/ 36 h 217"/>
                <a:gd name="T16" fmla="*/ 129 w 217"/>
                <a:gd name="T17" fmla="*/ 21 h 217"/>
                <a:gd name="T18" fmla="*/ 129 w 217"/>
                <a:gd name="T19" fmla="*/ 0 h 217"/>
                <a:gd name="T20" fmla="*/ 88 w 217"/>
                <a:gd name="T21" fmla="*/ 0 h 217"/>
                <a:gd name="T22" fmla="*/ 88 w 217"/>
                <a:gd name="T23" fmla="*/ 21 h 217"/>
                <a:gd name="T24" fmla="*/ 79 w 217"/>
                <a:gd name="T25" fmla="*/ 36 h 217"/>
                <a:gd name="T26" fmla="*/ 61 w 217"/>
                <a:gd name="T27" fmla="*/ 32 h 217"/>
                <a:gd name="T28" fmla="*/ 46 w 217"/>
                <a:gd name="T29" fmla="*/ 17 h 217"/>
                <a:gd name="T30" fmla="*/ 17 w 217"/>
                <a:gd name="T31" fmla="*/ 46 h 217"/>
                <a:gd name="T32" fmla="*/ 33 w 217"/>
                <a:gd name="T33" fmla="*/ 61 h 217"/>
                <a:gd name="T34" fmla="*/ 36 w 217"/>
                <a:gd name="T35" fmla="*/ 78 h 217"/>
                <a:gd name="T36" fmla="*/ 21 w 217"/>
                <a:gd name="T37" fmla="*/ 88 h 217"/>
                <a:gd name="T38" fmla="*/ 0 w 217"/>
                <a:gd name="T39" fmla="*/ 88 h 217"/>
                <a:gd name="T40" fmla="*/ 0 w 217"/>
                <a:gd name="T41" fmla="*/ 129 h 217"/>
                <a:gd name="T42" fmla="*/ 21 w 217"/>
                <a:gd name="T43" fmla="*/ 129 h 217"/>
                <a:gd name="T44" fmla="*/ 36 w 217"/>
                <a:gd name="T45" fmla="*/ 138 h 217"/>
                <a:gd name="T46" fmla="*/ 33 w 217"/>
                <a:gd name="T47" fmla="*/ 155 h 217"/>
                <a:gd name="T48" fmla="*/ 17 w 217"/>
                <a:gd name="T49" fmla="*/ 171 h 217"/>
                <a:gd name="T50" fmla="*/ 46 w 217"/>
                <a:gd name="T51" fmla="*/ 199 h 217"/>
                <a:gd name="T52" fmla="*/ 61 w 217"/>
                <a:gd name="T53" fmla="*/ 184 h 217"/>
                <a:gd name="T54" fmla="*/ 79 w 217"/>
                <a:gd name="T55" fmla="*/ 180 h 217"/>
                <a:gd name="T56" fmla="*/ 88 w 217"/>
                <a:gd name="T57" fmla="*/ 195 h 217"/>
                <a:gd name="T58" fmla="*/ 88 w 217"/>
                <a:gd name="T59" fmla="*/ 217 h 217"/>
                <a:gd name="T60" fmla="*/ 129 w 217"/>
                <a:gd name="T61" fmla="*/ 217 h 217"/>
                <a:gd name="T62" fmla="*/ 129 w 217"/>
                <a:gd name="T63" fmla="*/ 195 h 217"/>
                <a:gd name="T64" fmla="*/ 138 w 217"/>
                <a:gd name="T65" fmla="*/ 180 h 217"/>
                <a:gd name="T66" fmla="*/ 156 w 217"/>
                <a:gd name="T67" fmla="*/ 184 h 217"/>
                <a:gd name="T68" fmla="*/ 171 w 217"/>
                <a:gd name="T69" fmla="*/ 199 h 217"/>
                <a:gd name="T70" fmla="*/ 200 w 217"/>
                <a:gd name="T71" fmla="*/ 171 h 217"/>
                <a:gd name="T72" fmla="*/ 184 w 217"/>
                <a:gd name="T73" fmla="*/ 155 h 217"/>
                <a:gd name="T74" fmla="*/ 181 w 217"/>
                <a:gd name="T75" fmla="*/ 138 h 217"/>
                <a:gd name="T76" fmla="*/ 195 w 217"/>
                <a:gd name="T77" fmla="*/ 129 h 217"/>
                <a:gd name="T78" fmla="*/ 217 w 217"/>
                <a:gd name="T79" fmla="*/ 129 h 217"/>
                <a:gd name="T80" fmla="*/ 217 w 217"/>
                <a:gd name="T81" fmla="*/ 88 h 217"/>
                <a:gd name="T82" fmla="*/ 108 w 217"/>
                <a:gd name="T83" fmla="*/ 145 h 217"/>
                <a:gd name="T84" fmla="*/ 71 w 217"/>
                <a:gd name="T85" fmla="*/ 108 h 217"/>
                <a:gd name="T86" fmla="*/ 108 w 217"/>
                <a:gd name="T87" fmla="*/ 71 h 217"/>
                <a:gd name="T88" fmla="*/ 146 w 217"/>
                <a:gd name="T89" fmla="*/ 108 h 217"/>
                <a:gd name="T90" fmla="*/ 108 w 217"/>
                <a:gd name="T91" fmla="*/ 14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7" h="217">
                  <a:moveTo>
                    <a:pt x="217" y="88"/>
                  </a:moveTo>
                  <a:cubicBezTo>
                    <a:pt x="195" y="88"/>
                    <a:pt x="195" y="88"/>
                    <a:pt x="195" y="88"/>
                  </a:cubicBezTo>
                  <a:cubicBezTo>
                    <a:pt x="189" y="88"/>
                    <a:pt x="183" y="83"/>
                    <a:pt x="181" y="78"/>
                  </a:cubicBezTo>
                  <a:cubicBezTo>
                    <a:pt x="178" y="73"/>
                    <a:pt x="180" y="66"/>
                    <a:pt x="184" y="61"/>
                  </a:cubicBezTo>
                  <a:cubicBezTo>
                    <a:pt x="200" y="46"/>
                    <a:pt x="200" y="46"/>
                    <a:pt x="200" y="46"/>
                  </a:cubicBezTo>
                  <a:cubicBezTo>
                    <a:pt x="171" y="17"/>
                    <a:pt x="171" y="17"/>
                    <a:pt x="171" y="17"/>
                  </a:cubicBezTo>
                  <a:cubicBezTo>
                    <a:pt x="156" y="32"/>
                    <a:pt x="156" y="32"/>
                    <a:pt x="156" y="32"/>
                  </a:cubicBezTo>
                  <a:cubicBezTo>
                    <a:pt x="151" y="37"/>
                    <a:pt x="143" y="38"/>
                    <a:pt x="138" y="36"/>
                  </a:cubicBezTo>
                  <a:cubicBezTo>
                    <a:pt x="133" y="34"/>
                    <a:pt x="129" y="28"/>
                    <a:pt x="129" y="21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8" y="28"/>
                    <a:pt x="84" y="34"/>
                    <a:pt x="79" y="36"/>
                  </a:cubicBezTo>
                  <a:cubicBezTo>
                    <a:pt x="74" y="38"/>
                    <a:pt x="66" y="37"/>
                    <a:pt x="61" y="32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7" y="66"/>
                    <a:pt x="38" y="73"/>
                    <a:pt x="36" y="78"/>
                  </a:cubicBezTo>
                  <a:cubicBezTo>
                    <a:pt x="34" y="83"/>
                    <a:pt x="28" y="88"/>
                    <a:pt x="21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8" y="129"/>
                    <a:pt x="34" y="133"/>
                    <a:pt x="36" y="138"/>
                  </a:cubicBezTo>
                  <a:cubicBezTo>
                    <a:pt x="38" y="143"/>
                    <a:pt x="37" y="151"/>
                    <a:pt x="33" y="155"/>
                  </a:cubicBezTo>
                  <a:cubicBezTo>
                    <a:pt x="17" y="171"/>
                    <a:pt x="17" y="171"/>
                    <a:pt x="17" y="171"/>
                  </a:cubicBezTo>
                  <a:cubicBezTo>
                    <a:pt x="46" y="199"/>
                    <a:pt x="46" y="199"/>
                    <a:pt x="46" y="199"/>
                  </a:cubicBezTo>
                  <a:cubicBezTo>
                    <a:pt x="61" y="184"/>
                    <a:pt x="61" y="184"/>
                    <a:pt x="61" y="184"/>
                  </a:cubicBezTo>
                  <a:cubicBezTo>
                    <a:pt x="66" y="180"/>
                    <a:pt x="74" y="178"/>
                    <a:pt x="79" y="180"/>
                  </a:cubicBezTo>
                  <a:cubicBezTo>
                    <a:pt x="84" y="182"/>
                    <a:pt x="88" y="189"/>
                    <a:pt x="88" y="195"/>
                  </a:cubicBezTo>
                  <a:cubicBezTo>
                    <a:pt x="88" y="217"/>
                    <a:pt x="88" y="217"/>
                    <a:pt x="88" y="217"/>
                  </a:cubicBezTo>
                  <a:cubicBezTo>
                    <a:pt x="129" y="217"/>
                    <a:pt x="129" y="217"/>
                    <a:pt x="129" y="217"/>
                  </a:cubicBezTo>
                  <a:cubicBezTo>
                    <a:pt x="129" y="195"/>
                    <a:pt x="129" y="195"/>
                    <a:pt x="129" y="195"/>
                  </a:cubicBezTo>
                  <a:cubicBezTo>
                    <a:pt x="129" y="189"/>
                    <a:pt x="133" y="182"/>
                    <a:pt x="138" y="180"/>
                  </a:cubicBezTo>
                  <a:cubicBezTo>
                    <a:pt x="143" y="178"/>
                    <a:pt x="151" y="180"/>
                    <a:pt x="156" y="184"/>
                  </a:cubicBezTo>
                  <a:cubicBezTo>
                    <a:pt x="171" y="199"/>
                    <a:pt x="171" y="199"/>
                    <a:pt x="171" y="199"/>
                  </a:cubicBezTo>
                  <a:cubicBezTo>
                    <a:pt x="200" y="171"/>
                    <a:pt x="200" y="171"/>
                    <a:pt x="200" y="171"/>
                  </a:cubicBezTo>
                  <a:cubicBezTo>
                    <a:pt x="184" y="155"/>
                    <a:pt x="184" y="155"/>
                    <a:pt x="184" y="155"/>
                  </a:cubicBezTo>
                  <a:cubicBezTo>
                    <a:pt x="180" y="151"/>
                    <a:pt x="178" y="143"/>
                    <a:pt x="181" y="138"/>
                  </a:cubicBezTo>
                  <a:cubicBezTo>
                    <a:pt x="183" y="133"/>
                    <a:pt x="189" y="129"/>
                    <a:pt x="195" y="129"/>
                  </a:cubicBezTo>
                  <a:cubicBezTo>
                    <a:pt x="217" y="129"/>
                    <a:pt x="217" y="129"/>
                    <a:pt x="217" y="129"/>
                  </a:cubicBezTo>
                  <a:lnTo>
                    <a:pt x="217" y="88"/>
                  </a:lnTo>
                  <a:close/>
                  <a:moveTo>
                    <a:pt x="108" y="145"/>
                  </a:moveTo>
                  <a:cubicBezTo>
                    <a:pt x="88" y="145"/>
                    <a:pt x="71" y="129"/>
                    <a:pt x="71" y="108"/>
                  </a:cubicBezTo>
                  <a:cubicBezTo>
                    <a:pt x="71" y="88"/>
                    <a:pt x="88" y="71"/>
                    <a:pt x="108" y="71"/>
                  </a:cubicBezTo>
                  <a:cubicBezTo>
                    <a:pt x="129" y="71"/>
                    <a:pt x="146" y="88"/>
                    <a:pt x="146" y="108"/>
                  </a:cubicBezTo>
                  <a:cubicBezTo>
                    <a:pt x="146" y="129"/>
                    <a:pt x="129" y="145"/>
                    <a:pt x="108" y="14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62" name="Freeform 5"/>
            <p:cNvSpPr>
              <a:spLocks/>
            </p:cNvSpPr>
            <p:nvPr/>
          </p:nvSpPr>
          <p:spPr bwMode="auto">
            <a:xfrm>
              <a:off x="1386350" y="2580231"/>
              <a:ext cx="567057" cy="256373"/>
            </a:xfrm>
            <a:custGeom>
              <a:avLst/>
              <a:gdLst>
                <a:gd name="T0" fmla="*/ 113 w 131"/>
                <a:gd name="T1" fmla="*/ 29 h 60"/>
                <a:gd name="T2" fmla="*/ 74 w 131"/>
                <a:gd name="T3" fmla="*/ 38 h 60"/>
                <a:gd name="T4" fmla="*/ 48 w 131"/>
                <a:gd name="T5" fmla="*/ 24 h 60"/>
                <a:gd name="T6" fmla="*/ 55 w 131"/>
                <a:gd name="T7" fmla="*/ 23 h 60"/>
                <a:gd name="T8" fmla="*/ 71 w 131"/>
                <a:gd name="T9" fmla="*/ 31 h 60"/>
                <a:gd name="T10" fmla="*/ 76 w 131"/>
                <a:gd name="T11" fmla="*/ 19 h 60"/>
                <a:gd name="T12" fmla="*/ 47 w 131"/>
                <a:gd name="T13" fmla="*/ 1 h 60"/>
                <a:gd name="T14" fmla="*/ 23 w 131"/>
                <a:gd name="T15" fmla="*/ 5 h 60"/>
                <a:gd name="T16" fmla="*/ 0 w 131"/>
                <a:gd name="T17" fmla="*/ 11 h 60"/>
                <a:gd name="T18" fmla="*/ 0 w 131"/>
                <a:gd name="T19" fmla="*/ 50 h 60"/>
                <a:gd name="T20" fmla="*/ 26 w 131"/>
                <a:gd name="T21" fmla="*/ 51 h 60"/>
                <a:gd name="T22" fmla="*/ 71 w 131"/>
                <a:gd name="T23" fmla="*/ 59 h 60"/>
                <a:gd name="T24" fmla="*/ 119 w 131"/>
                <a:gd name="T25" fmla="*/ 43 h 60"/>
                <a:gd name="T26" fmla="*/ 113 w 131"/>
                <a:gd name="T27" fmla="*/ 2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1" h="60">
                  <a:moveTo>
                    <a:pt x="113" y="29"/>
                  </a:moveTo>
                  <a:cubicBezTo>
                    <a:pt x="96" y="34"/>
                    <a:pt x="79" y="38"/>
                    <a:pt x="74" y="38"/>
                  </a:cubicBezTo>
                  <a:cubicBezTo>
                    <a:pt x="70" y="38"/>
                    <a:pt x="50" y="26"/>
                    <a:pt x="48" y="24"/>
                  </a:cubicBezTo>
                  <a:cubicBezTo>
                    <a:pt x="49" y="20"/>
                    <a:pt x="51" y="21"/>
                    <a:pt x="55" y="23"/>
                  </a:cubicBezTo>
                  <a:cubicBezTo>
                    <a:pt x="59" y="25"/>
                    <a:pt x="68" y="30"/>
                    <a:pt x="71" y="31"/>
                  </a:cubicBezTo>
                  <a:cubicBezTo>
                    <a:pt x="77" y="35"/>
                    <a:pt x="87" y="26"/>
                    <a:pt x="76" y="19"/>
                  </a:cubicBezTo>
                  <a:cubicBezTo>
                    <a:pt x="67" y="13"/>
                    <a:pt x="57" y="4"/>
                    <a:pt x="47" y="1"/>
                  </a:cubicBezTo>
                  <a:cubicBezTo>
                    <a:pt x="42" y="0"/>
                    <a:pt x="28" y="3"/>
                    <a:pt x="23" y="5"/>
                  </a:cubicBezTo>
                  <a:cubicBezTo>
                    <a:pt x="13" y="8"/>
                    <a:pt x="0" y="11"/>
                    <a:pt x="0" y="1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62" y="60"/>
                    <a:pt x="71" y="59"/>
                  </a:cubicBezTo>
                  <a:cubicBezTo>
                    <a:pt x="80" y="58"/>
                    <a:pt x="105" y="50"/>
                    <a:pt x="119" y="43"/>
                  </a:cubicBezTo>
                  <a:cubicBezTo>
                    <a:pt x="131" y="38"/>
                    <a:pt x="126" y="25"/>
                    <a:pt x="113" y="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 dirty="0">
                <a:latin typeface="+mn-lt"/>
              </a:endParaRPr>
            </a:p>
          </p:txBody>
        </p:sp>
      </p:grpSp>
      <p:sp>
        <p:nvSpPr>
          <p:cNvPr id="536" name="TextBox 535"/>
          <p:cNvSpPr txBox="1">
            <a:spLocks/>
          </p:cNvSpPr>
          <p:nvPr/>
        </p:nvSpPr>
        <p:spPr>
          <a:xfrm>
            <a:off x="8516134" y="2000201"/>
            <a:ext cx="2320356" cy="43088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 panose="020B0600070205080204" pitchFamily="34" charset="-128"/>
              </a:rPr>
              <a:t>Changes in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mobility behavior 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tx2"/>
                </a:solidFill>
                <a:ea typeface="ＭＳ Ｐゴシック" panose="020B0600070205080204" pitchFamily="34" charset="-128"/>
              </a:rPr>
              <a:t>Connectivity</a:t>
            </a:r>
            <a:r>
              <a:rPr lang="en-US" dirty="0">
                <a:solidFill>
                  <a:schemeClr val="tx2"/>
                </a:solidFill>
                <a:ea typeface="ＭＳ Ｐゴシック" panose="020B0600070205080204" pitchFamily="34" charset="-128"/>
              </a:rPr>
              <a:t> </a:t>
            </a:r>
            <a:r>
              <a:rPr lang="en-US" dirty="0">
                <a:ea typeface="ＭＳ Ｐゴシック" panose="020B0600070205080204" pitchFamily="34" charset="-128"/>
              </a:rPr>
              <a:t>and </a:t>
            </a:r>
            <a:r>
              <a:rPr lang="en-US" b="1" dirty="0">
                <a:solidFill>
                  <a:schemeClr val="tx2"/>
                </a:solidFill>
                <a:ea typeface="ＭＳ Ｐゴシック" panose="020B0600070205080204" pitchFamily="34" charset="-128"/>
              </a:rPr>
              <a:t>optimization</a:t>
            </a:r>
            <a:r>
              <a:rPr lang="en-US" dirty="0">
                <a:solidFill>
                  <a:schemeClr val="tx2"/>
                </a:solidFill>
                <a:ea typeface="ＭＳ Ｐゴシック" panose="020B0600070205080204" pitchFamily="34" charset="-128"/>
              </a:rPr>
              <a:t> </a:t>
            </a:r>
            <a:r>
              <a:rPr lang="en-US" dirty="0">
                <a:ea typeface="ＭＳ Ｐゴシック" panose="020B0600070205080204" pitchFamily="34" charset="-128"/>
              </a:rPr>
              <a:t>will lower fuel demand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 panose="020B0600070205080204" pitchFamily="34" charset="-128"/>
              </a:rPr>
              <a:t>Uptake of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electric vehicles </a:t>
            </a:r>
            <a:r>
              <a:rPr lang="en-US" dirty="0">
                <a:ea typeface="ＭＳ Ｐゴシック" panose="020B0600070205080204" pitchFamily="34" charset="-128"/>
              </a:rPr>
              <a:t>and continuous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improvement </a:t>
            </a:r>
            <a:r>
              <a:rPr lang="en-US" dirty="0">
                <a:ea typeface="ＭＳ Ｐゴシック" panose="020B0600070205080204" pitchFamily="34" charset="-128"/>
              </a:rPr>
              <a:t>of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ICE technology </a:t>
            </a:r>
            <a:r>
              <a:rPr lang="en-US" dirty="0">
                <a:ea typeface="ＭＳ Ｐゴシック" panose="020B0600070205080204" pitchFamily="34" charset="-128"/>
              </a:rPr>
              <a:t>will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lower demand </a:t>
            </a:r>
            <a:r>
              <a:rPr lang="en-US" dirty="0">
                <a:ea typeface="ＭＳ Ｐゴシック" panose="020B0600070205080204" pitchFamily="34" charset="-128"/>
              </a:rPr>
              <a:t>for oil and oil-related products (e.g., lubricants)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 </a:t>
            </a:r>
            <a:r>
              <a:rPr lang="en-US" dirty="0">
                <a:ea typeface="ＭＳ Ｐゴシック" panose="020B0600070205080204" pitchFamily="34" charset="-128"/>
              </a:rPr>
              <a:t>from vehicles 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 panose="020B0600070205080204" pitchFamily="34" charset="-128"/>
              </a:rPr>
              <a:t>New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competition</a:t>
            </a:r>
            <a:r>
              <a:rPr lang="en-US" dirty="0">
                <a:ea typeface="ＭＳ Ｐゴシック" panose="020B0600070205080204" pitchFamily="34" charset="-128"/>
              </a:rPr>
              <a:t> and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cooperation </a:t>
            </a:r>
            <a:r>
              <a:rPr lang="en-US" dirty="0">
                <a:ea typeface="ＭＳ Ｐゴシック" panose="020B0600070205080204" pitchFamily="34" charset="-128"/>
              </a:rPr>
              <a:t>with new players entering the market</a:t>
            </a:r>
          </a:p>
          <a:p>
            <a:pPr lvl="1">
              <a:spcBef>
                <a:spcPct val="50000"/>
              </a:spcBef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Shifting markets </a:t>
            </a:r>
            <a:r>
              <a:rPr lang="en-US" dirty="0">
                <a:ea typeface="ＭＳ Ｐゴシック" panose="020B0600070205080204" pitchFamily="34" charset="-128"/>
              </a:rPr>
              <a:t>and </a:t>
            </a:r>
            <a:r>
              <a:rPr lang="en-US" b="1" dirty="0">
                <a:solidFill>
                  <a:schemeClr val="accent4"/>
                </a:solidFill>
                <a:ea typeface="ＭＳ Ｐゴシック" panose="020B0600070205080204" pitchFamily="34" charset="-128"/>
              </a:rPr>
              <a:t>revenue pools</a:t>
            </a:r>
          </a:p>
        </p:txBody>
      </p:sp>
      <p:sp>
        <p:nvSpPr>
          <p:cNvPr id="538" name="Rectangle 537"/>
          <p:cNvSpPr>
            <a:spLocks/>
          </p:cNvSpPr>
          <p:nvPr/>
        </p:nvSpPr>
        <p:spPr>
          <a:xfrm>
            <a:off x="8328842" y="951140"/>
            <a:ext cx="1849758" cy="357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t" anchorCtr="0">
            <a:spAutoFit/>
          </a:bodyPr>
          <a:lstStyle/>
          <a:p>
            <a:pPr defTabSz="895350"/>
            <a:r>
              <a:rPr lang="en-US" sz="1100" b="1" dirty="0">
                <a:solidFill>
                  <a:schemeClr val="accent4"/>
                </a:solidFill>
                <a:latin typeface="+mn-lt"/>
              </a:rPr>
              <a:t>…will also radically change the oil and gas industry</a:t>
            </a:r>
          </a:p>
        </p:txBody>
      </p:sp>
      <p:cxnSp>
        <p:nvCxnSpPr>
          <p:cNvPr id="539" name="Straight Connector 538"/>
          <p:cNvCxnSpPr>
            <a:cxnSpLocks/>
          </p:cNvCxnSpPr>
          <p:nvPr/>
        </p:nvCxnSpPr>
        <p:spPr>
          <a:xfrm>
            <a:off x="8328842" y="1331740"/>
            <a:ext cx="1849758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0" name="Straight Connector 279"/>
          <p:cNvCxnSpPr>
            <a:cxnSpLocks/>
          </p:cNvCxnSpPr>
          <p:nvPr/>
        </p:nvCxnSpPr>
        <p:spPr>
          <a:xfrm>
            <a:off x="1582259" y="4213463"/>
            <a:ext cx="663251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0" name="Group 489"/>
          <p:cNvGrpSpPr/>
          <p:nvPr/>
        </p:nvGrpSpPr>
        <p:grpSpPr bwMode="gray">
          <a:xfrm>
            <a:off x="5096734" y="3799269"/>
            <a:ext cx="176894" cy="100657"/>
            <a:chOff x="3615654" y="4866994"/>
            <a:chExt cx="667637" cy="469518"/>
          </a:xfrm>
          <a:solidFill>
            <a:schemeClr val="bg2"/>
          </a:solidFill>
        </p:grpSpPr>
        <p:sp>
          <p:nvSpPr>
            <p:cNvPr id="502" name="Freeform 72"/>
            <p:cNvSpPr>
              <a:spLocks/>
            </p:cNvSpPr>
            <p:nvPr/>
          </p:nvSpPr>
          <p:spPr bwMode="gray">
            <a:xfrm>
              <a:off x="3661791" y="5187243"/>
              <a:ext cx="94990" cy="149269"/>
            </a:xfrm>
            <a:custGeom>
              <a:avLst/>
              <a:gdLst>
                <a:gd name="T0" fmla="*/ 15 w 15"/>
                <a:gd name="T1" fmla="*/ 18 h 23"/>
                <a:gd name="T2" fmla="*/ 10 w 15"/>
                <a:gd name="T3" fmla="*/ 23 h 23"/>
                <a:gd name="T4" fmla="*/ 5 w 15"/>
                <a:gd name="T5" fmla="*/ 23 h 23"/>
                <a:gd name="T6" fmla="*/ 0 w 15"/>
                <a:gd name="T7" fmla="*/ 18 h 23"/>
                <a:gd name="T8" fmla="*/ 0 w 15"/>
                <a:gd name="T9" fmla="*/ 5 h 23"/>
                <a:gd name="T10" fmla="*/ 5 w 15"/>
                <a:gd name="T11" fmla="*/ 0 h 23"/>
                <a:gd name="T12" fmla="*/ 10 w 15"/>
                <a:gd name="T13" fmla="*/ 0 h 23"/>
                <a:gd name="T14" fmla="*/ 15 w 15"/>
                <a:gd name="T15" fmla="*/ 5 h 23"/>
                <a:gd name="T16" fmla="*/ 15 w 15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3">
                  <a:moveTo>
                    <a:pt x="15" y="18"/>
                  </a:moveTo>
                  <a:cubicBezTo>
                    <a:pt x="15" y="21"/>
                    <a:pt x="13" y="23"/>
                    <a:pt x="10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2" y="23"/>
                    <a:pt x="0" y="21"/>
                    <a:pt x="0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3" y="0"/>
                    <a:pt x="15" y="2"/>
                    <a:pt x="15" y="5"/>
                  </a:cubicBez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03" name="Freeform 73"/>
            <p:cNvSpPr>
              <a:spLocks/>
            </p:cNvSpPr>
            <p:nvPr/>
          </p:nvSpPr>
          <p:spPr bwMode="gray">
            <a:xfrm>
              <a:off x="4142165" y="5187243"/>
              <a:ext cx="94990" cy="149269"/>
            </a:xfrm>
            <a:custGeom>
              <a:avLst/>
              <a:gdLst>
                <a:gd name="T0" fmla="*/ 15 w 15"/>
                <a:gd name="T1" fmla="*/ 18 h 23"/>
                <a:gd name="T2" fmla="*/ 9 w 15"/>
                <a:gd name="T3" fmla="*/ 23 h 23"/>
                <a:gd name="T4" fmla="*/ 5 w 15"/>
                <a:gd name="T5" fmla="*/ 23 h 23"/>
                <a:gd name="T6" fmla="*/ 0 w 15"/>
                <a:gd name="T7" fmla="*/ 18 h 23"/>
                <a:gd name="T8" fmla="*/ 0 w 15"/>
                <a:gd name="T9" fmla="*/ 5 h 23"/>
                <a:gd name="T10" fmla="*/ 5 w 15"/>
                <a:gd name="T11" fmla="*/ 0 h 23"/>
                <a:gd name="T12" fmla="*/ 9 w 15"/>
                <a:gd name="T13" fmla="*/ 0 h 23"/>
                <a:gd name="T14" fmla="*/ 15 w 15"/>
                <a:gd name="T15" fmla="*/ 5 h 23"/>
                <a:gd name="T16" fmla="*/ 15 w 15"/>
                <a:gd name="T17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3">
                  <a:moveTo>
                    <a:pt x="15" y="18"/>
                  </a:moveTo>
                  <a:cubicBezTo>
                    <a:pt x="15" y="21"/>
                    <a:pt x="12" y="23"/>
                    <a:pt x="9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2" y="23"/>
                    <a:pt x="0" y="21"/>
                    <a:pt x="0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5" y="2"/>
                    <a:pt x="15" y="5"/>
                  </a:cubicBez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04" name="Freeform 74"/>
            <p:cNvSpPr>
              <a:spLocks noEditPoints="1"/>
            </p:cNvSpPr>
            <p:nvPr/>
          </p:nvSpPr>
          <p:spPr bwMode="gray">
            <a:xfrm>
              <a:off x="3615654" y="4866994"/>
              <a:ext cx="667637" cy="409811"/>
            </a:xfrm>
            <a:custGeom>
              <a:avLst/>
              <a:gdLst>
                <a:gd name="T0" fmla="*/ 100 w 104"/>
                <a:gd name="T1" fmla="*/ 16 h 64"/>
                <a:gd name="T2" fmla="*/ 92 w 104"/>
                <a:gd name="T3" fmla="*/ 16 h 64"/>
                <a:gd name="T4" fmla="*/ 89 w 104"/>
                <a:gd name="T5" fmla="*/ 17 h 64"/>
                <a:gd name="T6" fmla="*/ 89 w 104"/>
                <a:gd name="T7" fmla="*/ 17 h 64"/>
                <a:gd name="T8" fmla="*/ 79 w 104"/>
                <a:gd name="T9" fmla="*/ 3 h 64"/>
                <a:gd name="T10" fmla="*/ 52 w 104"/>
                <a:gd name="T11" fmla="*/ 0 h 64"/>
                <a:gd name="T12" fmla="*/ 25 w 104"/>
                <a:gd name="T13" fmla="*/ 3 h 64"/>
                <a:gd name="T14" fmla="*/ 15 w 104"/>
                <a:gd name="T15" fmla="*/ 17 h 64"/>
                <a:gd name="T16" fmla="*/ 14 w 104"/>
                <a:gd name="T17" fmla="*/ 17 h 64"/>
                <a:gd name="T18" fmla="*/ 12 w 104"/>
                <a:gd name="T19" fmla="*/ 16 h 64"/>
                <a:gd name="T20" fmla="*/ 4 w 104"/>
                <a:gd name="T21" fmla="*/ 16 h 64"/>
                <a:gd name="T22" fmla="*/ 1 w 104"/>
                <a:gd name="T23" fmla="*/ 21 h 64"/>
                <a:gd name="T24" fmla="*/ 3 w 104"/>
                <a:gd name="T25" fmla="*/ 23 h 64"/>
                <a:gd name="T26" fmla="*/ 7 w 104"/>
                <a:gd name="T27" fmla="*/ 23 h 64"/>
                <a:gd name="T28" fmla="*/ 7 w 104"/>
                <a:gd name="T29" fmla="*/ 23 h 64"/>
                <a:gd name="T30" fmla="*/ 7 w 104"/>
                <a:gd name="T31" fmla="*/ 23 h 64"/>
                <a:gd name="T32" fmla="*/ 10 w 104"/>
                <a:gd name="T33" fmla="*/ 26 h 64"/>
                <a:gd name="T34" fmla="*/ 6 w 104"/>
                <a:gd name="T35" fmla="*/ 36 h 64"/>
                <a:gd name="T36" fmla="*/ 11 w 104"/>
                <a:gd name="T37" fmla="*/ 64 h 64"/>
                <a:gd name="T38" fmla="*/ 93 w 104"/>
                <a:gd name="T39" fmla="*/ 64 h 64"/>
                <a:gd name="T40" fmla="*/ 98 w 104"/>
                <a:gd name="T41" fmla="*/ 36 h 64"/>
                <a:gd name="T42" fmla="*/ 94 w 104"/>
                <a:gd name="T43" fmla="*/ 26 h 64"/>
                <a:gd name="T44" fmla="*/ 97 w 104"/>
                <a:gd name="T45" fmla="*/ 23 h 64"/>
                <a:gd name="T46" fmla="*/ 97 w 104"/>
                <a:gd name="T47" fmla="*/ 23 h 64"/>
                <a:gd name="T48" fmla="*/ 97 w 104"/>
                <a:gd name="T49" fmla="*/ 23 h 64"/>
                <a:gd name="T50" fmla="*/ 100 w 104"/>
                <a:gd name="T51" fmla="*/ 23 h 64"/>
                <a:gd name="T52" fmla="*/ 103 w 104"/>
                <a:gd name="T53" fmla="*/ 21 h 64"/>
                <a:gd name="T54" fmla="*/ 100 w 104"/>
                <a:gd name="T55" fmla="*/ 16 h 64"/>
                <a:gd name="T56" fmla="*/ 28 w 104"/>
                <a:gd name="T57" fmla="*/ 7 h 64"/>
                <a:gd name="T58" fmla="*/ 52 w 104"/>
                <a:gd name="T59" fmla="*/ 5 h 64"/>
                <a:gd name="T60" fmla="*/ 76 w 104"/>
                <a:gd name="T61" fmla="*/ 7 h 64"/>
                <a:gd name="T62" fmla="*/ 85 w 104"/>
                <a:gd name="T63" fmla="*/ 21 h 64"/>
                <a:gd name="T64" fmla="*/ 52 w 104"/>
                <a:gd name="T65" fmla="*/ 24 h 64"/>
                <a:gd name="T66" fmla="*/ 18 w 104"/>
                <a:gd name="T67" fmla="*/ 21 h 64"/>
                <a:gd name="T68" fmla="*/ 28 w 104"/>
                <a:gd name="T69" fmla="*/ 7 h 64"/>
                <a:gd name="T70" fmla="*/ 28 w 104"/>
                <a:gd name="T71" fmla="*/ 41 h 64"/>
                <a:gd name="T72" fmla="*/ 14 w 104"/>
                <a:gd name="T73" fmla="*/ 40 h 64"/>
                <a:gd name="T74" fmla="*/ 14 w 104"/>
                <a:gd name="T75" fmla="*/ 29 h 64"/>
                <a:gd name="T76" fmla="*/ 21 w 104"/>
                <a:gd name="T77" fmla="*/ 30 h 64"/>
                <a:gd name="T78" fmla="*/ 28 w 104"/>
                <a:gd name="T79" fmla="*/ 41 h 64"/>
                <a:gd name="T80" fmla="*/ 69 w 104"/>
                <a:gd name="T81" fmla="*/ 52 h 64"/>
                <a:gd name="T82" fmla="*/ 62 w 104"/>
                <a:gd name="T83" fmla="*/ 54 h 64"/>
                <a:gd name="T84" fmla="*/ 42 w 104"/>
                <a:gd name="T85" fmla="*/ 54 h 64"/>
                <a:gd name="T86" fmla="*/ 35 w 104"/>
                <a:gd name="T87" fmla="*/ 52 h 64"/>
                <a:gd name="T88" fmla="*/ 37 w 104"/>
                <a:gd name="T89" fmla="*/ 49 h 64"/>
                <a:gd name="T90" fmla="*/ 66 w 104"/>
                <a:gd name="T91" fmla="*/ 49 h 64"/>
                <a:gd name="T92" fmla="*/ 69 w 104"/>
                <a:gd name="T93" fmla="*/ 52 h 64"/>
                <a:gd name="T94" fmla="*/ 90 w 104"/>
                <a:gd name="T95" fmla="*/ 40 h 64"/>
                <a:gd name="T96" fmla="*/ 76 w 104"/>
                <a:gd name="T97" fmla="*/ 41 h 64"/>
                <a:gd name="T98" fmla="*/ 82 w 104"/>
                <a:gd name="T99" fmla="*/ 30 h 64"/>
                <a:gd name="T100" fmla="*/ 90 w 104"/>
                <a:gd name="T101" fmla="*/ 29 h 64"/>
                <a:gd name="T102" fmla="*/ 90 w 104"/>
                <a:gd name="T103" fmla="*/ 4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4" h="64">
                  <a:moveTo>
                    <a:pt x="100" y="16"/>
                  </a:moveTo>
                  <a:cubicBezTo>
                    <a:pt x="98" y="16"/>
                    <a:pt x="92" y="16"/>
                    <a:pt x="92" y="16"/>
                  </a:cubicBezTo>
                  <a:cubicBezTo>
                    <a:pt x="90" y="16"/>
                    <a:pt x="90" y="16"/>
                    <a:pt x="89" y="17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85" y="10"/>
                    <a:pt x="81" y="4"/>
                    <a:pt x="79" y="3"/>
                  </a:cubicBezTo>
                  <a:cubicBezTo>
                    <a:pt x="75" y="0"/>
                    <a:pt x="69" y="0"/>
                    <a:pt x="52" y="0"/>
                  </a:cubicBezTo>
                  <a:cubicBezTo>
                    <a:pt x="35" y="0"/>
                    <a:pt x="29" y="0"/>
                    <a:pt x="25" y="3"/>
                  </a:cubicBezTo>
                  <a:cubicBezTo>
                    <a:pt x="22" y="4"/>
                    <a:pt x="18" y="10"/>
                    <a:pt x="15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4" y="16"/>
                    <a:pt x="13" y="16"/>
                    <a:pt x="12" y="16"/>
                  </a:cubicBezTo>
                  <a:cubicBezTo>
                    <a:pt x="12" y="16"/>
                    <a:pt x="6" y="16"/>
                    <a:pt x="4" y="16"/>
                  </a:cubicBezTo>
                  <a:cubicBezTo>
                    <a:pt x="0" y="16"/>
                    <a:pt x="1" y="21"/>
                    <a:pt x="1" y="21"/>
                  </a:cubicBezTo>
                  <a:cubicBezTo>
                    <a:pt x="1" y="22"/>
                    <a:pt x="2" y="23"/>
                    <a:pt x="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9" y="23"/>
                    <a:pt x="10" y="24"/>
                    <a:pt x="10" y="26"/>
                  </a:cubicBezTo>
                  <a:cubicBezTo>
                    <a:pt x="8" y="30"/>
                    <a:pt x="6" y="34"/>
                    <a:pt x="6" y="36"/>
                  </a:cubicBezTo>
                  <a:cubicBezTo>
                    <a:pt x="4" y="43"/>
                    <a:pt x="8" y="64"/>
                    <a:pt x="11" y="64"/>
                  </a:cubicBezTo>
                  <a:cubicBezTo>
                    <a:pt x="13" y="64"/>
                    <a:pt x="91" y="64"/>
                    <a:pt x="93" y="64"/>
                  </a:cubicBezTo>
                  <a:cubicBezTo>
                    <a:pt x="96" y="64"/>
                    <a:pt x="100" y="43"/>
                    <a:pt x="98" y="36"/>
                  </a:cubicBezTo>
                  <a:cubicBezTo>
                    <a:pt x="97" y="34"/>
                    <a:pt x="96" y="30"/>
                    <a:pt x="94" y="26"/>
                  </a:cubicBezTo>
                  <a:cubicBezTo>
                    <a:pt x="93" y="24"/>
                    <a:pt x="95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97" y="23"/>
                    <a:pt x="97" y="23"/>
                    <a:pt x="97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2" y="23"/>
                    <a:pt x="103" y="22"/>
                    <a:pt x="103" y="21"/>
                  </a:cubicBezTo>
                  <a:cubicBezTo>
                    <a:pt x="103" y="21"/>
                    <a:pt x="104" y="16"/>
                    <a:pt x="100" y="16"/>
                  </a:cubicBezTo>
                  <a:close/>
                  <a:moveTo>
                    <a:pt x="28" y="7"/>
                  </a:moveTo>
                  <a:cubicBezTo>
                    <a:pt x="30" y="6"/>
                    <a:pt x="36" y="5"/>
                    <a:pt x="52" y="5"/>
                  </a:cubicBezTo>
                  <a:cubicBezTo>
                    <a:pt x="68" y="5"/>
                    <a:pt x="73" y="6"/>
                    <a:pt x="76" y="7"/>
                  </a:cubicBezTo>
                  <a:cubicBezTo>
                    <a:pt x="78" y="9"/>
                    <a:pt x="82" y="15"/>
                    <a:pt x="85" y="21"/>
                  </a:cubicBezTo>
                  <a:cubicBezTo>
                    <a:pt x="75" y="23"/>
                    <a:pt x="64" y="24"/>
                    <a:pt x="52" y="24"/>
                  </a:cubicBezTo>
                  <a:cubicBezTo>
                    <a:pt x="40" y="24"/>
                    <a:pt x="28" y="23"/>
                    <a:pt x="18" y="21"/>
                  </a:cubicBezTo>
                  <a:cubicBezTo>
                    <a:pt x="22" y="15"/>
                    <a:pt x="26" y="9"/>
                    <a:pt x="28" y="7"/>
                  </a:cubicBezTo>
                  <a:close/>
                  <a:moveTo>
                    <a:pt x="28" y="41"/>
                  </a:moveTo>
                  <a:cubicBezTo>
                    <a:pt x="27" y="42"/>
                    <a:pt x="16" y="42"/>
                    <a:pt x="14" y="40"/>
                  </a:cubicBezTo>
                  <a:cubicBezTo>
                    <a:pt x="11" y="38"/>
                    <a:pt x="13" y="31"/>
                    <a:pt x="14" y="29"/>
                  </a:cubicBezTo>
                  <a:cubicBezTo>
                    <a:pt x="15" y="27"/>
                    <a:pt x="20" y="30"/>
                    <a:pt x="21" y="30"/>
                  </a:cubicBezTo>
                  <a:cubicBezTo>
                    <a:pt x="27" y="34"/>
                    <a:pt x="29" y="40"/>
                    <a:pt x="28" y="41"/>
                  </a:cubicBezTo>
                  <a:close/>
                  <a:moveTo>
                    <a:pt x="69" y="52"/>
                  </a:moveTo>
                  <a:cubicBezTo>
                    <a:pt x="68" y="53"/>
                    <a:pt x="66" y="54"/>
                    <a:pt x="6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38" y="54"/>
                    <a:pt x="35" y="53"/>
                    <a:pt x="35" y="52"/>
                  </a:cubicBezTo>
                  <a:cubicBezTo>
                    <a:pt x="34" y="50"/>
                    <a:pt x="36" y="49"/>
                    <a:pt x="37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8" y="49"/>
                    <a:pt x="69" y="50"/>
                    <a:pt x="69" y="52"/>
                  </a:cubicBezTo>
                  <a:close/>
                  <a:moveTo>
                    <a:pt x="90" y="40"/>
                  </a:moveTo>
                  <a:cubicBezTo>
                    <a:pt x="88" y="42"/>
                    <a:pt x="77" y="42"/>
                    <a:pt x="76" y="41"/>
                  </a:cubicBezTo>
                  <a:cubicBezTo>
                    <a:pt x="75" y="40"/>
                    <a:pt x="76" y="34"/>
                    <a:pt x="82" y="30"/>
                  </a:cubicBezTo>
                  <a:cubicBezTo>
                    <a:pt x="84" y="30"/>
                    <a:pt x="88" y="27"/>
                    <a:pt x="90" y="29"/>
                  </a:cubicBezTo>
                  <a:cubicBezTo>
                    <a:pt x="91" y="31"/>
                    <a:pt x="92" y="38"/>
                    <a:pt x="9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  <a:latin typeface="+mn-lt"/>
              </a:endParaRPr>
            </a:p>
          </p:txBody>
        </p:sp>
      </p:grpSp>
      <p:sp>
        <p:nvSpPr>
          <p:cNvPr id="455" name="Oval 454"/>
          <p:cNvSpPr>
            <a:spLocks/>
          </p:cNvSpPr>
          <p:nvPr/>
        </p:nvSpPr>
        <p:spPr>
          <a:xfrm>
            <a:off x="4004647" y="1300558"/>
            <a:ext cx="1169625" cy="1181322"/>
          </a:xfrm>
          <a:prstGeom prst="ellipse">
            <a:avLst/>
          </a:prstGeom>
          <a:solidFill>
            <a:srgbClr val="EEEEEE"/>
          </a:solidFill>
          <a:ln w="9525" cap="flat" cmpd="sng" algn="ctr">
            <a:noFill/>
            <a:prstDash val="solid"/>
          </a:ln>
          <a:effectLst/>
        </p:spPr>
        <p:txBody>
          <a:bodyPr lIns="93296" tIns="46648" rIns="93296" bIns="46648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530" name="Straight Connector 529"/>
          <p:cNvCxnSpPr>
            <a:cxnSpLocks/>
          </p:cNvCxnSpPr>
          <p:nvPr/>
        </p:nvCxnSpPr>
        <p:spPr>
          <a:xfrm>
            <a:off x="8317213" y="1389714"/>
            <a:ext cx="0" cy="5016433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Group 204"/>
          <p:cNvGrpSpPr/>
          <p:nvPr/>
        </p:nvGrpSpPr>
        <p:grpSpPr>
          <a:xfrm>
            <a:off x="8138869" y="3855193"/>
            <a:ext cx="339107" cy="631068"/>
            <a:chOff x="7330818" y="3332920"/>
            <a:chExt cx="339107" cy="631068"/>
          </a:xfrm>
        </p:grpSpPr>
        <p:sp>
          <p:nvSpPr>
            <p:cNvPr id="206" name="Rectangle 205"/>
            <p:cNvSpPr/>
            <p:nvPr/>
          </p:nvSpPr>
          <p:spPr>
            <a:xfrm>
              <a:off x="7411693" y="3332920"/>
              <a:ext cx="142875" cy="63106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07" name="Group 206"/>
            <p:cNvGrpSpPr/>
            <p:nvPr/>
          </p:nvGrpSpPr>
          <p:grpSpPr>
            <a:xfrm>
              <a:off x="7330818" y="3441430"/>
              <a:ext cx="339107" cy="425524"/>
              <a:chOff x="3983341" y="1203512"/>
              <a:chExt cx="405139" cy="497154"/>
            </a:xfrm>
            <a:solidFill>
              <a:schemeClr val="bg1"/>
            </a:solidFill>
          </p:grpSpPr>
          <p:sp>
            <p:nvSpPr>
              <p:cNvPr id="208" name="Chevron 207"/>
              <p:cNvSpPr/>
              <p:nvPr/>
            </p:nvSpPr>
            <p:spPr>
              <a:xfrm>
                <a:off x="4049416" y="1203512"/>
                <a:ext cx="339064" cy="497154"/>
              </a:xfrm>
              <a:prstGeom prst="chevron">
                <a:avLst/>
              </a:prstGeom>
              <a:solidFill>
                <a:schemeClr val="accent4"/>
              </a:solidFill>
              <a:ln w="12700">
                <a:solidFill>
                  <a:schemeClr val="tx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Chevron 208"/>
              <p:cNvSpPr/>
              <p:nvPr/>
            </p:nvSpPr>
            <p:spPr>
              <a:xfrm>
                <a:off x="3983341" y="1327800"/>
                <a:ext cx="169532" cy="248578"/>
              </a:xfrm>
              <a:prstGeom prst="chevron">
                <a:avLst/>
              </a:prstGeom>
              <a:solidFill>
                <a:schemeClr val="accent2"/>
              </a:solidFill>
              <a:ln w="12700"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76" name="Flowchart: Connector 175"/>
          <p:cNvSpPr>
            <a:spLocks/>
          </p:cNvSpPr>
          <p:nvPr/>
        </p:nvSpPr>
        <p:spPr>
          <a:xfrm>
            <a:off x="4028344" y="1462128"/>
            <a:ext cx="1118620" cy="1044540"/>
          </a:xfrm>
          <a:prstGeom prst="flowChartConnector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lIns="93296" tIns="46648" rIns="93296" bIns="46648" rtlCol="0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000" kern="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Oval 10"/>
          <p:cNvSpPr>
            <a:spLocks noChangeArrowheads="1"/>
          </p:cNvSpPr>
          <p:nvPr/>
        </p:nvSpPr>
        <p:spPr bwMode="gray">
          <a:xfrm>
            <a:off x="3800578" y="1659889"/>
            <a:ext cx="1620717" cy="605909"/>
          </a:xfrm>
          <a:prstGeom prst="ellipse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932958"/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Autonomous </a:t>
            </a:r>
            <a:b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</a:br>
            <a:r>
              <a:rPr lang="en-US" sz="1400" b="1" dirty="0">
                <a:solidFill>
                  <a:srgbClr val="FFFFFF"/>
                </a:solidFill>
                <a:latin typeface="Arial"/>
                <a:cs typeface="Arial" pitchFamily="34" charset="0"/>
              </a:rPr>
              <a:t>driving</a:t>
            </a:r>
          </a:p>
        </p:txBody>
      </p:sp>
      <p:sp>
        <p:nvSpPr>
          <p:cNvPr id="282" name="Rectangle 281"/>
          <p:cNvSpPr>
            <a:spLocks/>
          </p:cNvSpPr>
          <p:nvPr/>
        </p:nvSpPr>
        <p:spPr>
          <a:xfrm>
            <a:off x="1665738" y="1120416"/>
            <a:ext cx="3837375" cy="187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8" anchor="t" anchorCtr="0">
            <a:spAutoFit/>
          </a:bodyPr>
          <a:lstStyle/>
          <a:p>
            <a:pPr defTabSz="895350"/>
            <a:r>
              <a:rPr lang="en-US" sz="1100" b="1" dirty="0">
                <a:solidFill>
                  <a:schemeClr val="accent4"/>
                </a:solidFill>
                <a:latin typeface="+mn-lt"/>
              </a:rPr>
              <a:t>Majority of the trends impacting the future of mobility…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1665738" y="1331740"/>
            <a:ext cx="6200235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22" name="Group 221"/>
          <p:cNvGrpSpPr>
            <a:grpSpLocks noChangeAspect="1"/>
          </p:cNvGrpSpPr>
          <p:nvPr/>
        </p:nvGrpSpPr>
        <p:grpSpPr>
          <a:xfrm>
            <a:off x="2194123" y="3565020"/>
            <a:ext cx="311426" cy="328240"/>
            <a:chOff x="1603376" y="263525"/>
            <a:chExt cx="676275" cy="712788"/>
          </a:xfrm>
          <a:solidFill>
            <a:schemeClr val="bg1"/>
          </a:solidFill>
        </p:grpSpPr>
        <p:sp>
          <p:nvSpPr>
            <p:cNvPr id="239" name="Freeform 64"/>
            <p:cNvSpPr>
              <a:spLocks/>
            </p:cNvSpPr>
            <p:nvPr/>
          </p:nvSpPr>
          <p:spPr bwMode="auto">
            <a:xfrm>
              <a:off x="1808163" y="263525"/>
              <a:ext cx="47625" cy="238125"/>
            </a:xfrm>
            <a:custGeom>
              <a:avLst/>
              <a:gdLst>
                <a:gd name="T0" fmla="*/ 15 w 30"/>
                <a:gd name="T1" fmla="*/ 0 h 150"/>
                <a:gd name="T2" fmla="*/ 20 w 30"/>
                <a:gd name="T3" fmla="*/ 2 h 150"/>
                <a:gd name="T4" fmla="*/ 24 w 30"/>
                <a:gd name="T5" fmla="*/ 10 h 150"/>
                <a:gd name="T6" fmla="*/ 27 w 30"/>
                <a:gd name="T7" fmla="*/ 24 h 150"/>
                <a:gd name="T8" fmla="*/ 30 w 30"/>
                <a:gd name="T9" fmla="*/ 47 h 150"/>
                <a:gd name="T10" fmla="*/ 30 w 30"/>
                <a:gd name="T11" fmla="*/ 74 h 150"/>
                <a:gd name="T12" fmla="*/ 30 w 30"/>
                <a:gd name="T13" fmla="*/ 102 h 150"/>
                <a:gd name="T14" fmla="*/ 28 w 30"/>
                <a:gd name="T15" fmla="*/ 125 h 150"/>
                <a:gd name="T16" fmla="*/ 24 w 30"/>
                <a:gd name="T17" fmla="*/ 139 h 150"/>
                <a:gd name="T18" fmla="*/ 20 w 30"/>
                <a:gd name="T19" fmla="*/ 147 h 150"/>
                <a:gd name="T20" fmla="*/ 15 w 30"/>
                <a:gd name="T21" fmla="*/ 150 h 150"/>
                <a:gd name="T22" fmla="*/ 10 w 30"/>
                <a:gd name="T23" fmla="*/ 147 h 150"/>
                <a:gd name="T24" fmla="*/ 6 w 30"/>
                <a:gd name="T25" fmla="*/ 139 h 150"/>
                <a:gd name="T26" fmla="*/ 4 w 30"/>
                <a:gd name="T27" fmla="*/ 125 h 150"/>
                <a:gd name="T28" fmla="*/ 1 w 30"/>
                <a:gd name="T29" fmla="*/ 102 h 150"/>
                <a:gd name="T30" fmla="*/ 0 w 30"/>
                <a:gd name="T31" fmla="*/ 75 h 150"/>
                <a:gd name="T32" fmla="*/ 0 w 30"/>
                <a:gd name="T33" fmla="*/ 47 h 150"/>
                <a:gd name="T34" fmla="*/ 2 w 30"/>
                <a:gd name="T35" fmla="*/ 24 h 150"/>
                <a:gd name="T36" fmla="*/ 6 w 30"/>
                <a:gd name="T37" fmla="*/ 10 h 150"/>
                <a:gd name="T38" fmla="*/ 10 w 30"/>
                <a:gd name="T39" fmla="*/ 2 h 150"/>
                <a:gd name="T40" fmla="*/ 15 w 30"/>
                <a:gd name="T41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150">
                  <a:moveTo>
                    <a:pt x="15" y="0"/>
                  </a:moveTo>
                  <a:lnTo>
                    <a:pt x="20" y="2"/>
                  </a:lnTo>
                  <a:lnTo>
                    <a:pt x="24" y="10"/>
                  </a:lnTo>
                  <a:lnTo>
                    <a:pt x="27" y="24"/>
                  </a:lnTo>
                  <a:lnTo>
                    <a:pt x="30" y="47"/>
                  </a:lnTo>
                  <a:lnTo>
                    <a:pt x="30" y="74"/>
                  </a:lnTo>
                  <a:lnTo>
                    <a:pt x="30" y="102"/>
                  </a:lnTo>
                  <a:lnTo>
                    <a:pt x="28" y="125"/>
                  </a:lnTo>
                  <a:lnTo>
                    <a:pt x="24" y="139"/>
                  </a:lnTo>
                  <a:lnTo>
                    <a:pt x="20" y="147"/>
                  </a:lnTo>
                  <a:lnTo>
                    <a:pt x="15" y="150"/>
                  </a:lnTo>
                  <a:lnTo>
                    <a:pt x="10" y="147"/>
                  </a:lnTo>
                  <a:lnTo>
                    <a:pt x="6" y="139"/>
                  </a:lnTo>
                  <a:lnTo>
                    <a:pt x="4" y="125"/>
                  </a:lnTo>
                  <a:lnTo>
                    <a:pt x="1" y="102"/>
                  </a:lnTo>
                  <a:lnTo>
                    <a:pt x="0" y="75"/>
                  </a:lnTo>
                  <a:lnTo>
                    <a:pt x="0" y="47"/>
                  </a:lnTo>
                  <a:lnTo>
                    <a:pt x="2" y="24"/>
                  </a:lnTo>
                  <a:lnTo>
                    <a:pt x="6" y="10"/>
                  </a:lnTo>
                  <a:lnTo>
                    <a:pt x="10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0" name="Freeform 65"/>
            <p:cNvSpPr>
              <a:spLocks/>
            </p:cNvSpPr>
            <p:nvPr/>
          </p:nvSpPr>
          <p:spPr bwMode="auto">
            <a:xfrm>
              <a:off x="1603376" y="519113"/>
              <a:ext cx="215900" cy="115888"/>
            </a:xfrm>
            <a:custGeom>
              <a:avLst/>
              <a:gdLst>
                <a:gd name="T0" fmla="*/ 127 w 136"/>
                <a:gd name="T1" fmla="*/ 0 h 73"/>
                <a:gd name="T2" fmla="*/ 131 w 136"/>
                <a:gd name="T3" fmla="*/ 1 h 73"/>
                <a:gd name="T4" fmla="*/ 134 w 136"/>
                <a:gd name="T5" fmla="*/ 3 h 73"/>
                <a:gd name="T6" fmla="*/ 136 w 136"/>
                <a:gd name="T7" fmla="*/ 4 h 73"/>
                <a:gd name="T8" fmla="*/ 136 w 136"/>
                <a:gd name="T9" fmla="*/ 10 h 73"/>
                <a:gd name="T10" fmla="*/ 131 w 136"/>
                <a:gd name="T11" fmla="*/ 17 h 73"/>
                <a:gd name="T12" fmla="*/ 120 w 136"/>
                <a:gd name="T13" fmla="*/ 26 h 73"/>
                <a:gd name="T14" fmla="*/ 99 w 136"/>
                <a:gd name="T15" fmla="*/ 39 h 73"/>
                <a:gd name="T16" fmla="*/ 75 w 136"/>
                <a:gd name="T17" fmla="*/ 51 h 73"/>
                <a:gd name="T18" fmla="*/ 54 w 136"/>
                <a:gd name="T19" fmla="*/ 60 h 73"/>
                <a:gd name="T20" fmla="*/ 36 w 136"/>
                <a:gd name="T21" fmla="*/ 68 h 73"/>
                <a:gd name="T22" fmla="*/ 21 w 136"/>
                <a:gd name="T23" fmla="*/ 72 h 73"/>
                <a:gd name="T24" fmla="*/ 9 w 136"/>
                <a:gd name="T25" fmla="*/ 73 h 73"/>
                <a:gd name="T26" fmla="*/ 5 w 136"/>
                <a:gd name="T27" fmla="*/ 73 h 73"/>
                <a:gd name="T28" fmla="*/ 2 w 136"/>
                <a:gd name="T29" fmla="*/ 72 h 73"/>
                <a:gd name="T30" fmla="*/ 0 w 136"/>
                <a:gd name="T31" fmla="*/ 69 h 73"/>
                <a:gd name="T32" fmla="*/ 0 w 136"/>
                <a:gd name="T33" fmla="*/ 64 h 73"/>
                <a:gd name="T34" fmla="*/ 5 w 136"/>
                <a:gd name="T35" fmla="*/ 57 h 73"/>
                <a:gd name="T36" fmla="*/ 17 w 136"/>
                <a:gd name="T37" fmla="*/ 48 h 73"/>
                <a:gd name="T38" fmla="*/ 36 w 136"/>
                <a:gd name="T39" fmla="*/ 36 h 73"/>
                <a:gd name="T40" fmla="*/ 62 w 136"/>
                <a:gd name="T41" fmla="*/ 23 h 73"/>
                <a:gd name="T42" fmla="*/ 82 w 136"/>
                <a:gd name="T43" fmla="*/ 14 h 73"/>
                <a:gd name="T44" fmla="*/ 100 w 136"/>
                <a:gd name="T45" fmla="*/ 7 h 73"/>
                <a:gd name="T46" fmla="*/ 116 w 136"/>
                <a:gd name="T47" fmla="*/ 3 h 73"/>
                <a:gd name="T48" fmla="*/ 127 w 136"/>
                <a:gd name="T4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6" h="73">
                  <a:moveTo>
                    <a:pt x="127" y="0"/>
                  </a:moveTo>
                  <a:lnTo>
                    <a:pt x="131" y="1"/>
                  </a:lnTo>
                  <a:lnTo>
                    <a:pt x="134" y="3"/>
                  </a:lnTo>
                  <a:lnTo>
                    <a:pt x="136" y="4"/>
                  </a:lnTo>
                  <a:lnTo>
                    <a:pt x="136" y="10"/>
                  </a:lnTo>
                  <a:lnTo>
                    <a:pt x="131" y="17"/>
                  </a:lnTo>
                  <a:lnTo>
                    <a:pt x="120" y="26"/>
                  </a:lnTo>
                  <a:lnTo>
                    <a:pt x="99" y="39"/>
                  </a:lnTo>
                  <a:lnTo>
                    <a:pt x="75" y="51"/>
                  </a:lnTo>
                  <a:lnTo>
                    <a:pt x="54" y="60"/>
                  </a:lnTo>
                  <a:lnTo>
                    <a:pt x="36" y="68"/>
                  </a:lnTo>
                  <a:lnTo>
                    <a:pt x="21" y="72"/>
                  </a:lnTo>
                  <a:lnTo>
                    <a:pt x="9" y="73"/>
                  </a:lnTo>
                  <a:lnTo>
                    <a:pt x="5" y="73"/>
                  </a:lnTo>
                  <a:lnTo>
                    <a:pt x="2" y="72"/>
                  </a:lnTo>
                  <a:lnTo>
                    <a:pt x="0" y="69"/>
                  </a:lnTo>
                  <a:lnTo>
                    <a:pt x="0" y="64"/>
                  </a:lnTo>
                  <a:lnTo>
                    <a:pt x="5" y="57"/>
                  </a:lnTo>
                  <a:lnTo>
                    <a:pt x="17" y="48"/>
                  </a:lnTo>
                  <a:lnTo>
                    <a:pt x="36" y="36"/>
                  </a:lnTo>
                  <a:lnTo>
                    <a:pt x="62" y="23"/>
                  </a:lnTo>
                  <a:lnTo>
                    <a:pt x="82" y="14"/>
                  </a:lnTo>
                  <a:lnTo>
                    <a:pt x="100" y="7"/>
                  </a:lnTo>
                  <a:lnTo>
                    <a:pt x="116" y="3"/>
                  </a:lnTo>
                  <a:lnTo>
                    <a:pt x="127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1" name="Freeform 66"/>
            <p:cNvSpPr>
              <a:spLocks/>
            </p:cNvSpPr>
            <p:nvPr/>
          </p:nvSpPr>
          <p:spPr bwMode="auto">
            <a:xfrm>
              <a:off x="1847851" y="519113"/>
              <a:ext cx="215900" cy="114300"/>
            </a:xfrm>
            <a:custGeom>
              <a:avLst/>
              <a:gdLst>
                <a:gd name="T0" fmla="*/ 9 w 136"/>
                <a:gd name="T1" fmla="*/ 0 h 72"/>
                <a:gd name="T2" fmla="*/ 20 w 136"/>
                <a:gd name="T3" fmla="*/ 1 h 72"/>
                <a:gd name="T4" fmla="*/ 35 w 136"/>
                <a:gd name="T5" fmla="*/ 7 h 72"/>
                <a:gd name="T6" fmla="*/ 54 w 136"/>
                <a:gd name="T7" fmla="*/ 13 h 72"/>
                <a:gd name="T8" fmla="*/ 75 w 136"/>
                <a:gd name="T9" fmla="*/ 22 h 72"/>
                <a:gd name="T10" fmla="*/ 99 w 136"/>
                <a:gd name="T11" fmla="*/ 35 h 72"/>
                <a:gd name="T12" fmla="*/ 120 w 136"/>
                <a:gd name="T13" fmla="*/ 48 h 72"/>
                <a:gd name="T14" fmla="*/ 131 w 136"/>
                <a:gd name="T15" fmla="*/ 55 h 72"/>
                <a:gd name="T16" fmla="*/ 136 w 136"/>
                <a:gd name="T17" fmla="*/ 63 h 72"/>
                <a:gd name="T18" fmla="*/ 136 w 136"/>
                <a:gd name="T19" fmla="*/ 68 h 72"/>
                <a:gd name="T20" fmla="*/ 134 w 136"/>
                <a:gd name="T21" fmla="*/ 71 h 72"/>
                <a:gd name="T22" fmla="*/ 131 w 136"/>
                <a:gd name="T23" fmla="*/ 72 h 72"/>
                <a:gd name="T24" fmla="*/ 127 w 136"/>
                <a:gd name="T25" fmla="*/ 72 h 72"/>
                <a:gd name="T26" fmla="*/ 116 w 136"/>
                <a:gd name="T27" fmla="*/ 71 h 72"/>
                <a:gd name="T28" fmla="*/ 100 w 136"/>
                <a:gd name="T29" fmla="*/ 67 h 72"/>
                <a:gd name="T30" fmla="*/ 81 w 136"/>
                <a:gd name="T31" fmla="*/ 59 h 72"/>
                <a:gd name="T32" fmla="*/ 61 w 136"/>
                <a:gd name="T33" fmla="*/ 50 h 72"/>
                <a:gd name="T34" fmla="*/ 36 w 136"/>
                <a:gd name="T35" fmla="*/ 39 h 72"/>
                <a:gd name="T36" fmla="*/ 17 w 136"/>
                <a:gd name="T37" fmla="*/ 26 h 72"/>
                <a:gd name="T38" fmla="*/ 5 w 136"/>
                <a:gd name="T39" fmla="*/ 17 h 72"/>
                <a:gd name="T40" fmla="*/ 0 w 136"/>
                <a:gd name="T41" fmla="*/ 10 h 72"/>
                <a:gd name="T42" fmla="*/ 0 w 136"/>
                <a:gd name="T43" fmla="*/ 4 h 72"/>
                <a:gd name="T44" fmla="*/ 2 w 136"/>
                <a:gd name="T45" fmla="*/ 3 h 72"/>
                <a:gd name="T46" fmla="*/ 4 w 136"/>
                <a:gd name="T47" fmla="*/ 1 h 72"/>
                <a:gd name="T48" fmla="*/ 9 w 136"/>
                <a:gd name="T4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6" h="72">
                  <a:moveTo>
                    <a:pt x="9" y="0"/>
                  </a:moveTo>
                  <a:lnTo>
                    <a:pt x="20" y="1"/>
                  </a:lnTo>
                  <a:lnTo>
                    <a:pt x="35" y="7"/>
                  </a:lnTo>
                  <a:lnTo>
                    <a:pt x="54" y="13"/>
                  </a:lnTo>
                  <a:lnTo>
                    <a:pt x="75" y="22"/>
                  </a:lnTo>
                  <a:lnTo>
                    <a:pt x="99" y="35"/>
                  </a:lnTo>
                  <a:lnTo>
                    <a:pt x="120" y="48"/>
                  </a:lnTo>
                  <a:lnTo>
                    <a:pt x="131" y="55"/>
                  </a:lnTo>
                  <a:lnTo>
                    <a:pt x="136" y="63"/>
                  </a:lnTo>
                  <a:lnTo>
                    <a:pt x="136" y="68"/>
                  </a:lnTo>
                  <a:lnTo>
                    <a:pt x="134" y="71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16" y="71"/>
                  </a:lnTo>
                  <a:lnTo>
                    <a:pt x="100" y="67"/>
                  </a:lnTo>
                  <a:lnTo>
                    <a:pt x="81" y="59"/>
                  </a:lnTo>
                  <a:lnTo>
                    <a:pt x="61" y="50"/>
                  </a:lnTo>
                  <a:lnTo>
                    <a:pt x="36" y="39"/>
                  </a:lnTo>
                  <a:lnTo>
                    <a:pt x="17" y="26"/>
                  </a:lnTo>
                  <a:lnTo>
                    <a:pt x="5" y="17"/>
                  </a:lnTo>
                  <a:lnTo>
                    <a:pt x="0" y="10"/>
                  </a:lnTo>
                  <a:lnTo>
                    <a:pt x="0" y="4"/>
                  </a:lnTo>
                  <a:lnTo>
                    <a:pt x="2" y="3"/>
                  </a:lnTo>
                  <a:lnTo>
                    <a:pt x="4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3" name="Freeform 67"/>
            <p:cNvSpPr>
              <a:spLocks/>
            </p:cNvSpPr>
            <p:nvPr/>
          </p:nvSpPr>
          <p:spPr bwMode="auto">
            <a:xfrm>
              <a:off x="1730376" y="546100"/>
              <a:ext cx="207963" cy="415925"/>
            </a:xfrm>
            <a:custGeom>
              <a:avLst/>
              <a:gdLst>
                <a:gd name="T0" fmla="*/ 64 w 131"/>
                <a:gd name="T1" fmla="*/ 0 h 262"/>
                <a:gd name="T2" fmla="*/ 67 w 131"/>
                <a:gd name="T3" fmla="*/ 0 h 262"/>
                <a:gd name="T4" fmla="*/ 68 w 131"/>
                <a:gd name="T5" fmla="*/ 1 h 262"/>
                <a:gd name="T6" fmla="*/ 68 w 131"/>
                <a:gd name="T7" fmla="*/ 2 h 262"/>
                <a:gd name="T8" fmla="*/ 99 w 131"/>
                <a:gd name="T9" fmla="*/ 215 h 262"/>
                <a:gd name="T10" fmla="*/ 131 w 131"/>
                <a:gd name="T11" fmla="*/ 262 h 262"/>
                <a:gd name="T12" fmla="*/ 0 w 131"/>
                <a:gd name="T13" fmla="*/ 262 h 262"/>
                <a:gd name="T14" fmla="*/ 32 w 131"/>
                <a:gd name="T15" fmla="*/ 215 h 262"/>
                <a:gd name="T16" fmla="*/ 60 w 131"/>
                <a:gd name="T17" fmla="*/ 2 h 262"/>
                <a:gd name="T18" fmla="*/ 61 w 131"/>
                <a:gd name="T19" fmla="*/ 1 h 262"/>
                <a:gd name="T20" fmla="*/ 63 w 131"/>
                <a:gd name="T21" fmla="*/ 0 h 262"/>
                <a:gd name="T22" fmla="*/ 64 w 131"/>
                <a:gd name="T23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1" h="262">
                  <a:moveTo>
                    <a:pt x="64" y="0"/>
                  </a:moveTo>
                  <a:lnTo>
                    <a:pt x="67" y="0"/>
                  </a:lnTo>
                  <a:lnTo>
                    <a:pt x="68" y="1"/>
                  </a:lnTo>
                  <a:lnTo>
                    <a:pt x="68" y="2"/>
                  </a:lnTo>
                  <a:lnTo>
                    <a:pt x="99" y="215"/>
                  </a:lnTo>
                  <a:lnTo>
                    <a:pt x="131" y="262"/>
                  </a:lnTo>
                  <a:lnTo>
                    <a:pt x="0" y="262"/>
                  </a:lnTo>
                  <a:lnTo>
                    <a:pt x="32" y="215"/>
                  </a:lnTo>
                  <a:lnTo>
                    <a:pt x="60" y="2"/>
                  </a:lnTo>
                  <a:lnTo>
                    <a:pt x="61" y="1"/>
                  </a:lnTo>
                  <a:lnTo>
                    <a:pt x="63" y="0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4" name="Freeform 68"/>
            <p:cNvSpPr>
              <a:spLocks/>
            </p:cNvSpPr>
            <p:nvPr/>
          </p:nvSpPr>
          <p:spPr bwMode="auto">
            <a:xfrm>
              <a:off x="2132013" y="558800"/>
              <a:ext cx="28575" cy="138113"/>
            </a:xfrm>
            <a:custGeom>
              <a:avLst/>
              <a:gdLst>
                <a:gd name="T0" fmla="*/ 9 w 18"/>
                <a:gd name="T1" fmla="*/ 0 h 87"/>
                <a:gd name="T2" fmla="*/ 10 w 18"/>
                <a:gd name="T3" fmla="*/ 0 h 87"/>
                <a:gd name="T4" fmla="*/ 12 w 18"/>
                <a:gd name="T5" fmla="*/ 2 h 87"/>
                <a:gd name="T6" fmla="*/ 14 w 18"/>
                <a:gd name="T7" fmla="*/ 7 h 87"/>
                <a:gd name="T8" fmla="*/ 15 w 18"/>
                <a:gd name="T9" fmla="*/ 14 h 87"/>
                <a:gd name="T10" fmla="*/ 16 w 18"/>
                <a:gd name="T11" fmla="*/ 26 h 87"/>
                <a:gd name="T12" fmla="*/ 18 w 18"/>
                <a:gd name="T13" fmla="*/ 43 h 87"/>
                <a:gd name="T14" fmla="*/ 16 w 18"/>
                <a:gd name="T15" fmla="*/ 59 h 87"/>
                <a:gd name="T16" fmla="*/ 15 w 18"/>
                <a:gd name="T17" fmla="*/ 73 h 87"/>
                <a:gd name="T18" fmla="*/ 14 w 18"/>
                <a:gd name="T19" fmla="*/ 79 h 87"/>
                <a:gd name="T20" fmla="*/ 12 w 18"/>
                <a:gd name="T21" fmla="*/ 83 h 87"/>
                <a:gd name="T22" fmla="*/ 11 w 18"/>
                <a:gd name="T23" fmla="*/ 86 h 87"/>
                <a:gd name="T24" fmla="*/ 9 w 18"/>
                <a:gd name="T25" fmla="*/ 87 h 87"/>
                <a:gd name="T26" fmla="*/ 6 w 18"/>
                <a:gd name="T27" fmla="*/ 86 h 87"/>
                <a:gd name="T28" fmla="*/ 5 w 18"/>
                <a:gd name="T29" fmla="*/ 83 h 87"/>
                <a:gd name="T30" fmla="*/ 2 w 18"/>
                <a:gd name="T31" fmla="*/ 79 h 87"/>
                <a:gd name="T32" fmla="*/ 1 w 18"/>
                <a:gd name="T33" fmla="*/ 73 h 87"/>
                <a:gd name="T34" fmla="*/ 0 w 18"/>
                <a:gd name="T35" fmla="*/ 59 h 87"/>
                <a:gd name="T36" fmla="*/ 0 w 18"/>
                <a:gd name="T37" fmla="*/ 43 h 87"/>
                <a:gd name="T38" fmla="*/ 0 w 18"/>
                <a:gd name="T39" fmla="*/ 26 h 87"/>
                <a:gd name="T40" fmla="*/ 1 w 18"/>
                <a:gd name="T41" fmla="*/ 14 h 87"/>
                <a:gd name="T42" fmla="*/ 2 w 18"/>
                <a:gd name="T43" fmla="*/ 7 h 87"/>
                <a:gd name="T44" fmla="*/ 4 w 18"/>
                <a:gd name="T45" fmla="*/ 2 h 87"/>
                <a:gd name="T46" fmla="*/ 6 w 18"/>
                <a:gd name="T47" fmla="*/ 0 h 87"/>
                <a:gd name="T48" fmla="*/ 9 w 18"/>
                <a:gd name="T4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87">
                  <a:moveTo>
                    <a:pt x="9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4" y="7"/>
                  </a:lnTo>
                  <a:lnTo>
                    <a:pt x="15" y="14"/>
                  </a:lnTo>
                  <a:lnTo>
                    <a:pt x="16" y="26"/>
                  </a:lnTo>
                  <a:lnTo>
                    <a:pt x="18" y="43"/>
                  </a:lnTo>
                  <a:lnTo>
                    <a:pt x="16" y="59"/>
                  </a:lnTo>
                  <a:lnTo>
                    <a:pt x="15" y="73"/>
                  </a:lnTo>
                  <a:lnTo>
                    <a:pt x="14" y="79"/>
                  </a:lnTo>
                  <a:lnTo>
                    <a:pt x="12" y="83"/>
                  </a:lnTo>
                  <a:lnTo>
                    <a:pt x="11" y="86"/>
                  </a:lnTo>
                  <a:lnTo>
                    <a:pt x="9" y="87"/>
                  </a:lnTo>
                  <a:lnTo>
                    <a:pt x="6" y="86"/>
                  </a:lnTo>
                  <a:lnTo>
                    <a:pt x="5" y="83"/>
                  </a:lnTo>
                  <a:lnTo>
                    <a:pt x="2" y="79"/>
                  </a:lnTo>
                  <a:lnTo>
                    <a:pt x="1" y="73"/>
                  </a:lnTo>
                  <a:lnTo>
                    <a:pt x="0" y="59"/>
                  </a:lnTo>
                  <a:lnTo>
                    <a:pt x="0" y="43"/>
                  </a:lnTo>
                  <a:lnTo>
                    <a:pt x="0" y="26"/>
                  </a:lnTo>
                  <a:lnTo>
                    <a:pt x="1" y="14"/>
                  </a:lnTo>
                  <a:lnTo>
                    <a:pt x="2" y="7"/>
                  </a:lnTo>
                  <a:lnTo>
                    <a:pt x="4" y="2"/>
                  </a:lnTo>
                  <a:lnTo>
                    <a:pt x="6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5" name="Freeform 69"/>
            <p:cNvSpPr>
              <a:spLocks/>
            </p:cNvSpPr>
            <p:nvPr/>
          </p:nvSpPr>
          <p:spPr bwMode="auto">
            <a:xfrm>
              <a:off x="2012951" y="706438"/>
              <a:ext cx="125413" cy="68263"/>
            </a:xfrm>
            <a:custGeom>
              <a:avLst/>
              <a:gdLst>
                <a:gd name="T0" fmla="*/ 73 w 79"/>
                <a:gd name="T1" fmla="*/ 0 h 43"/>
                <a:gd name="T2" fmla="*/ 76 w 79"/>
                <a:gd name="T3" fmla="*/ 0 h 43"/>
                <a:gd name="T4" fmla="*/ 77 w 79"/>
                <a:gd name="T5" fmla="*/ 1 h 43"/>
                <a:gd name="T6" fmla="*/ 79 w 79"/>
                <a:gd name="T7" fmla="*/ 3 h 43"/>
                <a:gd name="T8" fmla="*/ 79 w 79"/>
                <a:gd name="T9" fmla="*/ 4 h 43"/>
                <a:gd name="T10" fmla="*/ 79 w 79"/>
                <a:gd name="T11" fmla="*/ 7 h 43"/>
                <a:gd name="T12" fmla="*/ 76 w 79"/>
                <a:gd name="T13" fmla="*/ 9 h 43"/>
                <a:gd name="T14" fmla="*/ 73 w 79"/>
                <a:gd name="T15" fmla="*/ 12 h 43"/>
                <a:gd name="T16" fmla="*/ 70 w 79"/>
                <a:gd name="T17" fmla="*/ 14 h 43"/>
                <a:gd name="T18" fmla="*/ 58 w 79"/>
                <a:gd name="T19" fmla="*/ 22 h 43"/>
                <a:gd name="T20" fmla="*/ 44 w 79"/>
                <a:gd name="T21" fmla="*/ 30 h 43"/>
                <a:gd name="T22" fmla="*/ 27 w 79"/>
                <a:gd name="T23" fmla="*/ 36 h 43"/>
                <a:gd name="T24" fmla="*/ 14 w 79"/>
                <a:gd name="T25" fmla="*/ 41 h 43"/>
                <a:gd name="T26" fmla="*/ 5 w 79"/>
                <a:gd name="T27" fmla="*/ 43 h 43"/>
                <a:gd name="T28" fmla="*/ 3 w 79"/>
                <a:gd name="T29" fmla="*/ 43 h 43"/>
                <a:gd name="T30" fmla="*/ 2 w 79"/>
                <a:gd name="T31" fmla="*/ 41 h 43"/>
                <a:gd name="T32" fmla="*/ 0 w 79"/>
                <a:gd name="T33" fmla="*/ 40 h 43"/>
                <a:gd name="T34" fmla="*/ 0 w 79"/>
                <a:gd name="T35" fmla="*/ 39 h 43"/>
                <a:gd name="T36" fmla="*/ 0 w 79"/>
                <a:gd name="T37" fmla="*/ 36 h 43"/>
                <a:gd name="T38" fmla="*/ 3 w 79"/>
                <a:gd name="T39" fmla="*/ 34 h 43"/>
                <a:gd name="T40" fmla="*/ 5 w 79"/>
                <a:gd name="T41" fmla="*/ 31 h 43"/>
                <a:gd name="T42" fmla="*/ 9 w 79"/>
                <a:gd name="T43" fmla="*/ 27 h 43"/>
                <a:gd name="T44" fmla="*/ 21 w 79"/>
                <a:gd name="T45" fmla="*/ 21 h 43"/>
                <a:gd name="T46" fmla="*/ 35 w 79"/>
                <a:gd name="T47" fmla="*/ 13 h 43"/>
                <a:gd name="T48" fmla="*/ 52 w 79"/>
                <a:gd name="T49" fmla="*/ 7 h 43"/>
                <a:gd name="T50" fmla="*/ 64 w 79"/>
                <a:gd name="T51" fmla="*/ 1 h 43"/>
                <a:gd name="T52" fmla="*/ 73 w 79"/>
                <a:gd name="T5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" h="43">
                  <a:moveTo>
                    <a:pt x="73" y="0"/>
                  </a:moveTo>
                  <a:lnTo>
                    <a:pt x="76" y="0"/>
                  </a:lnTo>
                  <a:lnTo>
                    <a:pt x="77" y="1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79" y="7"/>
                  </a:lnTo>
                  <a:lnTo>
                    <a:pt x="76" y="9"/>
                  </a:lnTo>
                  <a:lnTo>
                    <a:pt x="73" y="12"/>
                  </a:lnTo>
                  <a:lnTo>
                    <a:pt x="70" y="14"/>
                  </a:lnTo>
                  <a:lnTo>
                    <a:pt x="58" y="22"/>
                  </a:lnTo>
                  <a:lnTo>
                    <a:pt x="44" y="30"/>
                  </a:lnTo>
                  <a:lnTo>
                    <a:pt x="27" y="36"/>
                  </a:lnTo>
                  <a:lnTo>
                    <a:pt x="14" y="41"/>
                  </a:lnTo>
                  <a:lnTo>
                    <a:pt x="5" y="43"/>
                  </a:lnTo>
                  <a:lnTo>
                    <a:pt x="3" y="43"/>
                  </a:lnTo>
                  <a:lnTo>
                    <a:pt x="2" y="41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3" y="34"/>
                  </a:lnTo>
                  <a:lnTo>
                    <a:pt x="5" y="31"/>
                  </a:lnTo>
                  <a:lnTo>
                    <a:pt x="9" y="27"/>
                  </a:lnTo>
                  <a:lnTo>
                    <a:pt x="21" y="21"/>
                  </a:lnTo>
                  <a:lnTo>
                    <a:pt x="35" y="13"/>
                  </a:lnTo>
                  <a:lnTo>
                    <a:pt x="52" y="7"/>
                  </a:lnTo>
                  <a:lnTo>
                    <a:pt x="64" y="1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6" name="Freeform 70"/>
            <p:cNvSpPr>
              <a:spLocks/>
            </p:cNvSpPr>
            <p:nvPr/>
          </p:nvSpPr>
          <p:spPr bwMode="auto">
            <a:xfrm>
              <a:off x="2154238" y="706438"/>
              <a:ext cx="125413" cy="65088"/>
            </a:xfrm>
            <a:custGeom>
              <a:avLst/>
              <a:gdLst>
                <a:gd name="T0" fmla="*/ 5 w 79"/>
                <a:gd name="T1" fmla="*/ 0 h 41"/>
                <a:gd name="T2" fmla="*/ 14 w 79"/>
                <a:gd name="T3" fmla="*/ 1 h 41"/>
                <a:gd name="T4" fmla="*/ 28 w 79"/>
                <a:gd name="T5" fmla="*/ 5 h 41"/>
                <a:gd name="T6" fmla="*/ 43 w 79"/>
                <a:gd name="T7" fmla="*/ 13 h 41"/>
                <a:gd name="T8" fmla="*/ 58 w 79"/>
                <a:gd name="T9" fmla="*/ 19 h 41"/>
                <a:gd name="T10" fmla="*/ 69 w 79"/>
                <a:gd name="T11" fmla="*/ 27 h 41"/>
                <a:gd name="T12" fmla="*/ 73 w 79"/>
                <a:gd name="T13" fmla="*/ 30 h 41"/>
                <a:gd name="T14" fmla="*/ 77 w 79"/>
                <a:gd name="T15" fmla="*/ 32 h 41"/>
                <a:gd name="T16" fmla="*/ 78 w 79"/>
                <a:gd name="T17" fmla="*/ 35 h 41"/>
                <a:gd name="T18" fmla="*/ 79 w 79"/>
                <a:gd name="T19" fmla="*/ 37 h 41"/>
                <a:gd name="T20" fmla="*/ 78 w 79"/>
                <a:gd name="T21" fmla="*/ 39 h 41"/>
                <a:gd name="T22" fmla="*/ 78 w 79"/>
                <a:gd name="T23" fmla="*/ 40 h 41"/>
                <a:gd name="T24" fmla="*/ 75 w 79"/>
                <a:gd name="T25" fmla="*/ 41 h 41"/>
                <a:gd name="T26" fmla="*/ 73 w 79"/>
                <a:gd name="T27" fmla="*/ 41 h 41"/>
                <a:gd name="T28" fmla="*/ 64 w 79"/>
                <a:gd name="T29" fmla="*/ 40 h 41"/>
                <a:gd name="T30" fmla="*/ 51 w 79"/>
                <a:gd name="T31" fmla="*/ 36 h 41"/>
                <a:gd name="T32" fmla="*/ 36 w 79"/>
                <a:gd name="T33" fmla="*/ 30 h 41"/>
                <a:gd name="T34" fmla="*/ 22 w 79"/>
                <a:gd name="T35" fmla="*/ 22 h 41"/>
                <a:gd name="T36" fmla="*/ 10 w 79"/>
                <a:gd name="T37" fmla="*/ 14 h 41"/>
                <a:gd name="T38" fmla="*/ 5 w 79"/>
                <a:gd name="T39" fmla="*/ 12 h 41"/>
                <a:gd name="T40" fmla="*/ 2 w 79"/>
                <a:gd name="T41" fmla="*/ 9 h 41"/>
                <a:gd name="T42" fmla="*/ 0 w 79"/>
                <a:gd name="T43" fmla="*/ 7 h 41"/>
                <a:gd name="T44" fmla="*/ 0 w 79"/>
                <a:gd name="T45" fmla="*/ 4 h 41"/>
                <a:gd name="T46" fmla="*/ 0 w 79"/>
                <a:gd name="T47" fmla="*/ 3 h 41"/>
                <a:gd name="T48" fmla="*/ 1 w 79"/>
                <a:gd name="T49" fmla="*/ 1 h 41"/>
                <a:gd name="T50" fmla="*/ 2 w 79"/>
                <a:gd name="T51" fmla="*/ 0 h 41"/>
                <a:gd name="T52" fmla="*/ 5 w 79"/>
                <a:gd name="T5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" h="41">
                  <a:moveTo>
                    <a:pt x="5" y="0"/>
                  </a:moveTo>
                  <a:lnTo>
                    <a:pt x="14" y="1"/>
                  </a:lnTo>
                  <a:lnTo>
                    <a:pt x="28" y="5"/>
                  </a:lnTo>
                  <a:lnTo>
                    <a:pt x="43" y="13"/>
                  </a:lnTo>
                  <a:lnTo>
                    <a:pt x="58" y="19"/>
                  </a:lnTo>
                  <a:lnTo>
                    <a:pt x="69" y="27"/>
                  </a:lnTo>
                  <a:lnTo>
                    <a:pt x="73" y="30"/>
                  </a:lnTo>
                  <a:lnTo>
                    <a:pt x="77" y="32"/>
                  </a:lnTo>
                  <a:lnTo>
                    <a:pt x="78" y="35"/>
                  </a:lnTo>
                  <a:lnTo>
                    <a:pt x="79" y="37"/>
                  </a:lnTo>
                  <a:lnTo>
                    <a:pt x="78" y="39"/>
                  </a:lnTo>
                  <a:lnTo>
                    <a:pt x="78" y="40"/>
                  </a:lnTo>
                  <a:lnTo>
                    <a:pt x="75" y="41"/>
                  </a:lnTo>
                  <a:lnTo>
                    <a:pt x="73" y="41"/>
                  </a:lnTo>
                  <a:lnTo>
                    <a:pt x="64" y="40"/>
                  </a:lnTo>
                  <a:lnTo>
                    <a:pt x="51" y="36"/>
                  </a:lnTo>
                  <a:lnTo>
                    <a:pt x="36" y="30"/>
                  </a:lnTo>
                  <a:lnTo>
                    <a:pt x="22" y="22"/>
                  </a:lnTo>
                  <a:lnTo>
                    <a:pt x="10" y="14"/>
                  </a:lnTo>
                  <a:lnTo>
                    <a:pt x="5" y="12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7" name="Freeform 71"/>
            <p:cNvSpPr>
              <a:spLocks/>
            </p:cNvSpPr>
            <p:nvPr/>
          </p:nvSpPr>
          <p:spPr bwMode="auto">
            <a:xfrm>
              <a:off x="2085976" y="720725"/>
              <a:ext cx="120650" cy="241300"/>
            </a:xfrm>
            <a:custGeom>
              <a:avLst/>
              <a:gdLst>
                <a:gd name="T0" fmla="*/ 38 w 76"/>
                <a:gd name="T1" fmla="*/ 0 h 152"/>
                <a:gd name="T2" fmla="*/ 39 w 76"/>
                <a:gd name="T3" fmla="*/ 0 h 152"/>
                <a:gd name="T4" fmla="*/ 40 w 76"/>
                <a:gd name="T5" fmla="*/ 1 h 152"/>
                <a:gd name="T6" fmla="*/ 57 w 76"/>
                <a:gd name="T7" fmla="*/ 125 h 152"/>
                <a:gd name="T8" fmla="*/ 76 w 76"/>
                <a:gd name="T9" fmla="*/ 152 h 152"/>
                <a:gd name="T10" fmla="*/ 0 w 76"/>
                <a:gd name="T11" fmla="*/ 152 h 152"/>
                <a:gd name="T12" fmla="*/ 18 w 76"/>
                <a:gd name="T13" fmla="*/ 125 h 152"/>
                <a:gd name="T14" fmla="*/ 35 w 76"/>
                <a:gd name="T15" fmla="*/ 1 h 152"/>
                <a:gd name="T16" fmla="*/ 36 w 76"/>
                <a:gd name="T17" fmla="*/ 0 h 152"/>
                <a:gd name="T18" fmla="*/ 38 w 76"/>
                <a:gd name="T1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152">
                  <a:moveTo>
                    <a:pt x="38" y="0"/>
                  </a:moveTo>
                  <a:lnTo>
                    <a:pt x="39" y="0"/>
                  </a:lnTo>
                  <a:lnTo>
                    <a:pt x="40" y="1"/>
                  </a:lnTo>
                  <a:lnTo>
                    <a:pt x="57" y="125"/>
                  </a:lnTo>
                  <a:lnTo>
                    <a:pt x="76" y="152"/>
                  </a:lnTo>
                  <a:lnTo>
                    <a:pt x="0" y="152"/>
                  </a:lnTo>
                  <a:lnTo>
                    <a:pt x="18" y="125"/>
                  </a:lnTo>
                  <a:lnTo>
                    <a:pt x="35" y="1"/>
                  </a:lnTo>
                  <a:lnTo>
                    <a:pt x="36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48" name="Freeform 72"/>
            <p:cNvSpPr>
              <a:spLocks/>
            </p:cNvSpPr>
            <p:nvPr/>
          </p:nvSpPr>
          <p:spPr bwMode="auto">
            <a:xfrm>
              <a:off x="1620838" y="900113"/>
              <a:ext cx="641350" cy="76200"/>
            </a:xfrm>
            <a:custGeom>
              <a:avLst/>
              <a:gdLst>
                <a:gd name="T0" fmla="*/ 202 w 404"/>
                <a:gd name="T1" fmla="*/ 0 h 48"/>
                <a:gd name="T2" fmla="*/ 247 w 404"/>
                <a:gd name="T3" fmla="*/ 3 h 48"/>
                <a:gd name="T4" fmla="*/ 288 w 404"/>
                <a:gd name="T5" fmla="*/ 7 h 48"/>
                <a:gd name="T6" fmla="*/ 326 w 404"/>
                <a:gd name="T7" fmla="*/ 14 h 48"/>
                <a:gd name="T8" fmla="*/ 359 w 404"/>
                <a:gd name="T9" fmla="*/ 23 h 48"/>
                <a:gd name="T10" fmla="*/ 385 w 404"/>
                <a:gd name="T11" fmla="*/ 35 h 48"/>
                <a:gd name="T12" fmla="*/ 404 w 404"/>
                <a:gd name="T13" fmla="*/ 48 h 48"/>
                <a:gd name="T14" fmla="*/ 0 w 404"/>
                <a:gd name="T15" fmla="*/ 48 h 48"/>
                <a:gd name="T16" fmla="*/ 19 w 404"/>
                <a:gd name="T17" fmla="*/ 35 h 48"/>
                <a:gd name="T18" fmla="*/ 46 w 404"/>
                <a:gd name="T19" fmla="*/ 23 h 48"/>
                <a:gd name="T20" fmla="*/ 78 w 404"/>
                <a:gd name="T21" fmla="*/ 14 h 48"/>
                <a:gd name="T22" fmla="*/ 115 w 404"/>
                <a:gd name="T23" fmla="*/ 7 h 48"/>
                <a:gd name="T24" fmla="*/ 157 w 404"/>
                <a:gd name="T25" fmla="*/ 3 h 48"/>
                <a:gd name="T26" fmla="*/ 202 w 404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4" h="48">
                  <a:moveTo>
                    <a:pt x="202" y="0"/>
                  </a:moveTo>
                  <a:lnTo>
                    <a:pt x="247" y="3"/>
                  </a:lnTo>
                  <a:lnTo>
                    <a:pt x="288" y="7"/>
                  </a:lnTo>
                  <a:lnTo>
                    <a:pt x="326" y="14"/>
                  </a:lnTo>
                  <a:lnTo>
                    <a:pt x="359" y="23"/>
                  </a:lnTo>
                  <a:lnTo>
                    <a:pt x="385" y="35"/>
                  </a:lnTo>
                  <a:lnTo>
                    <a:pt x="404" y="48"/>
                  </a:lnTo>
                  <a:lnTo>
                    <a:pt x="0" y="48"/>
                  </a:lnTo>
                  <a:lnTo>
                    <a:pt x="19" y="35"/>
                  </a:lnTo>
                  <a:lnTo>
                    <a:pt x="46" y="23"/>
                  </a:lnTo>
                  <a:lnTo>
                    <a:pt x="78" y="14"/>
                  </a:lnTo>
                  <a:lnTo>
                    <a:pt x="115" y="7"/>
                  </a:lnTo>
                  <a:lnTo>
                    <a:pt x="157" y="3"/>
                  </a:lnTo>
                  <a:lnTo>
                    <a:pt x="202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</p:grpSp>
      <p:grpSp>
        <p:nvGrpSpPr>
          <p:cNvPr id="212" name="Group 211"/>
          <p:cNvGrpSpPr>
            <a:grpSpLocks noChangeAspect="1"/>
          </p:cNvGrpSpPr>
          <p:nvPr/>
        </p:nvGrpSpPr>
        <p:grpSpPr>
          <a:xfrm>
            <a:off x="4407501" y="2143240"/>
            <a:ext cx="363566" cy="265513"/>
            <a:chOff x="191663" y="2068304"/>
            <a:chExt cx="681430" cy="497651"/>
          </a:xfrm>
          <a:solidFill>
            <a:schemeClr val="bg1"/>
          </a:solidFill>
        </p:grpSpPr>
        <p:sp>
          <p:nvSpPr>
            <p:cNvPr id="213" name="Freeform 57"/>
            <p:cNvSpPr>
              <a:spLocks noEditPoints="1"/>
            </p:cNvSpPr>
            <p:nvPr/>
          </p:nvSpPr>
          <p:spPr bwMode="auto">
            <a:xfrm>
              <a:off x="191663" y="2226144"/>
              <a:ext cx="681430" cy="339811"/>
            </a:xfrm>
            <a:custGeom>
              <a:avLst/>
              <a:gdLst>
                <a:gd name="T0" fmla="*/ 294 w 377"/>
                <a:gd name="T1" fmla="*/ 123 h 188"/>
                <a:gd name="T2" fmla="*/ 313 w 377"/>
                <a:gd name="T3" fmla="*/ 141 h 188"/>
                <a:gd name="T4" fmla="*/ 313 w 377"/>
                <a:gd name="T5" fmla="*/ 166 h 188"/>
                <a:gd name="T6" fmla="*/ 294 w 377"/>
                <a:gd name="T7" fmla="*/ 186 h 188"/>
                <a:gd name="T8" fmla="*/ 268 w 377"/>
                <a:gd name="T9" fmla="*/ 186 h 188"/>
                <a:gd name="T10" fmla="*/ 250 w 377"/>
                <a:gd name="T11" fmla="*/ 166 h 188"/>
                <a:gd name="T12" fmla="*/ 250 w 377"/>
                <a:gd name="T13" fmla="*/ 141 h 188"/>
                <a:gd name="T14" fmla="*/ 268 w 377"/>
                <a:gd name="T15" fmla="*/ 123 h 188"/>
                <a:gd name="T16" fmla="*/ 76 w 377"/>
                <a:gd name="T17" fmla="*/ 119 h 188"/>
                <a:gd name="T18" fmla="*/ 100 w 377"/>
                <a:gd name="T19" fmla="*/ 129 h 188"/>
                <a:gd name="T20" fmla="*/ 110 w 377"/>
                <a:gd name="T21" fmla="*/ 154 h 188"/>
                <a:gd name="T22" fmla="*/ 100 w 377"/>
                <a:gd name="T23" fmla="*/ 178 h 188"/>
                <a:gd name="T24" fmla="*/ 76 w 377"/>
                <a:gd name="T25" fmla="*/ 188 h 188"/>
                <a:gd name="T26" fmla="*/ 53 w 377"/>
                <a:gd name="T27" fmla="*/ 178 h 188"/>
                <a:gd name="T28" fmla="*/ 42 w 377"/>
                <a:gd name="T29" fmla="*/ 154 h 188"/>
                <a:gd name="T30" fmla="*/ 53 w 377"/>
                <a:gd name="T31" fmla="*/ 129 h 188"/>
                <a:gd name="T32" fmla="*/ 76 w 377"/>
                <a:gd name="T33" fmla="*/ 119 h 188"/>
                <a:gd name="T34" fmla="*/ 127 w 377"/>
                <a:gd name="T35" fmla="*/ 19 h 188"/>
                <a:gd name="T36" fmla="*/ 91 w 377"/>
                <a:gd name="T37" fmla="*/ 29 h 188"/>
                <a:gd name="T38" fmla="*/ 71 w 377"/>
                <a:gd name="T39" fmla="*/ 44 h 188"/>
                <a:gd name="T40" fmla="*/ 62 w 377"/>
                <a:gd name="T41" fmla="*/ 57 h 188"/>
                <a:gd name="T42" fmla="*/ 60 w 377"/>
                <a:gd name="T43" fmla="*/ 64 h 188"/>
                <a:gd name="T44" fmla="*/ 255 w 377"/>
                <a:gd name="T45" fmla="*/ 55 h 188"/>
                <a:gd name="T46" fmla="*/ 240 w 377"/>
                <a:gd name="T47" fmla="*/ 38 h 188"/>
                <a:gd name="T48" fmla="*/ 218 w 377"/>
                <a:gd name="T49" fmla="*/ 26 h 188"/>
                <a:gd name="T50" fmla="*/ 180 w 377"/>
                <a:gd name="T51" fmla="*/ 19 h 188"/>
                <a:gd name="T52" fmla="*/ 144 w 377"/>
                <a:gd name="T53" fmla="*/ 0 h 188"/>
                <a:gd name="T54" fmla="*/ 208 w 377"/>
                <a:gd name="T55" fmla="*/ 2 h 188"/>
                <a:gd name="T56" fmla="*/ 252 w 377"/>
                <a:gd name="T57" fmla="*/ 18 h 188"/>
                <a:gd name="T58" fmla="*/ 280 w 377"/>
                <a:gd name="T59" fmla="*/ 37 h 188"/>
                <a:gd name="T60" fmla="*/ 299 w 377"/>
                <a:gd name="T61" fmla="*/ 53 h 188"/>
                <a:gd name="T62" fmla="*/ 313 w 377"/>
                <a:gd name="T63" fmla="*/ 62 h 188"/>
                <a:gd name="T64" fmla="*/ 352 w 377"/>
                <a:gd name="T65" fmla="*/ 79 h 188"/>
                <a:gd name="T66" fmla="*/ 371 w 377"/>
                <a:gd name="T67" fmla="*/ 102 h 188"/>
                <a:gd name="T68" fmla="*/ 377 w 377"/>
                <a:gd name="T69" fmla="*/ 127 h 188"/>
                <a:gd name="T70" fmla="*/ 376 w 377"/>
                <a:gd name="T71" fmla="*/ 146 h 188"/>
                <a:gd name="T72" fmla="*/ 375 w 377"/>
                <a:gd name="T73" fmla="*/ 154 h 188"/>
                <a:gd name="T74" fmla="*/ 326 w 377"/>
                <a:gd name="T75" fmla="*/ 134 h 188"/>
                <a:gd name="T76" fmla="*/ 300 w 377"/>
                <a:gd name="T77" fmla="*/ 109 h 188"/>
                <a:gd name="T78" fmla="*/ 262 w 377"/>
                <a:gd name="T79" fmla="*/ 109 h 188"/>
                <a:gd name="T80" fmla="*/ 236 w 377"/>
                <a:gd name="T81" fmla="*/ 134 h 188"/>
                <a:gd name="T82" fmla="*/ 125 w 377"/>
                <a:gd name="T83" fmla="*/ 154 h 188"/>
                <a:gd name="T84" fmla="*/ 110 w 377"/>
                <a:gd name="T85" fmla="*/ 119 h 188"/>
                <a:gd name="T86" fmla="*/ 76 w 377"/>
                <a:gd name="T87" fmla="*/ 105 h 188"/>
                <a:gd name="T88" fmla="*/ 42 w 377"/>
                <a:gd name="T89" fmla="*/ 119 h 188"/>
                <a:gd name="T90" fmla="*/ 28 w 377"/>
                <a:gd name="T91" fmla="*/ 154 h 188"/>
                <a:gd name="T92" fmla="*/ 1 w 377"/>
                <a:gd name="T93" fmla="*/ 152 h 188"/>
                <a:gd name="T94" fmla="*/ 0 w 377"/>
                <a:gd name="T95" fmla="*/ 138 h 188"/>
                <a:gd name="T96" fmla="*/ 1 w 377"/>
                <a:gd name="T97" fmla="*/ 115 h 188"/>
                <a:gd name="T98" fmla="*/ 7 w 377"/>
                <a:gd name="T99" fmla="*/ 87 h 188"/>
                <a:gd name="T100" fmla="*/ 21 w 377"/>
                <a:gd name="T101" fmla="*/ 57 h 188"/>
                <a:gd name="T102" fmla="*/ 45 w 377"/>
                <a:gd name="T103" fmla="*/ 30 h 188"/>
                <a:gd name="T104" fmla="*/ 86 w 377"/>
                <a:gd name="T105" fmla="*/ 10 h 188"/>
                <a:gd name="T106" fmla="*/ 144 w 377"/>
                <a:gd name="T107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77" h="188">
                  <a:moveTo>
                    <a:pt x="281" y="119"/>
                  </a:moveTo>
                  <a:lnTo>
                    <a:pt x="294" y="123"/>
                  </a:lnTo>
                  <a:lnTo>
                    <a:pt x="305" y="129"/>
                  </a:lnTo>
                  <a:lnTo>
                    <a:pt x="313" y="141"/>
                  </a:lnTo>
                  <a:lnTo>
                    <a:pt x="316" y="154"/>
                  </a:lnTo>
                  <a:lnTo>
                    <a:pt x="313" y="166"/>
                  </a:lnTo>
                  <a:lnTo>
                    <a:pt x="305" y="178"/>
                  </a:lnTo>
                  <a:lnTo>
                    <a:pt x="294" y="186"/>
                  </a:lnTo>
                  <a:lnTo>
                    <a:pt x="281" y="188"/>
                  </a:lnTo>
                  <a:lnTo>
                    <a:pt x="268" y="186"/>
                  </a:lnTo>
                  <a:lnTo>
                    <a:pt x="257" y="178"/>
                  </a:lnTo>
                  <a:lnTo>
                    <a:pt x="250" y="166"/>
                  </a:lnTo>
                  <a:lnTo>
                    <a:pt x="246" y="154"/>
                  </a:lnTo>
                  <a:lnTo>
                    <a:pt x="250" y="141"/>
                  </a:lnTo>
                  <a:lnTo>
                    <a:pt x="257" y="129"/>
                  </a:lnTo>
                  <a:lnTo>
                    <a:pt x="268" y="123"/>
                  </a:lnTo>
                  <a:lnTo>
                    <a:pt x="281" y="119"/>
                  </a:lnTo>
                  <a:close/>
                  <a:moveTo>
                    <a:pt x="76" y="119"/>
                  </a:moveTo>
                  <a:lnTo>
                    <a:pt x="90" y="123"/>
                  </a:lnTo>
                  <a:lnTo>
                    <a:pt x="100" y="129"/>
                  </a:lnTo>
                  <a:lnTo>
                    <a:pt x="108" y="141"/>
                  </a:lnTo>
                  <a:lnTo>
                    <a:pt x="110" y="154"/>
                  </a:lnTo>
                  <a:lnTo>
                    <a:pt x="108" y="166"/>
                  </a:lnTo>
                  <a:lnTo>
                    <a:pt x="100" y="178"/>
                  </a:lnTo>
                  <a:lnTo>
                    <a:pt x="90" y="186"/>
                  </a:lnTo>
                  <a:lnTo>
                    <a:pt x="76" y="188"/>
                  </a:lnTo>
                  <a:lnTo>
                    <a:pt x="63" y="186"/>
                  </a:lnTo>
                  <a:lnTo>
                    <a:pt x="53" y="178"/>
                  </a:lnTo>
                  <a:lnTo>
                    <a:pt x="45" y="166"/>
                  </a:lnTo>
                  <a:lnTo>
                    <a:pt x="42" y="154"/>
                  </a:lnTo>
                  <a:lnTo>
                    <a:pt x="45" y="141"/>
                  </a:lnTo>
                  <a:lnTo>
                    <a:pt x="53" y="129"/>
                  </a:lnTo>
                  <a:lnTo>
                    <a:pt x="63" y="123"/>
                  </a:lnTo>
                  <a:lnTo>
                    <a:pt x="76" y="119"/>
                  </a:lnTo>
                  <a:close/>
                  <a:moveTo>
                    <a:pt x="153" y="18"/>
                  </a:moveTo>
                  <a:lnTo>
                    <a:pt x="127" y="19"/>
                  </a:lnTo>
                  <a:lnTo>
                    <a:pt x="108" y="24"/>
                  </a:lnTo>
                  <a:lnTo>
                    <a:pt x="91" y="29"/>
                  </a:lnTo>
                  <a:lnTo>
                    <a:pt x="80" y="37"/>
                  </a:lnTo>
                  <a:lnTo>
                    <a:pt x="71" y="44"/>
                  </a:lnTo>
                  <a:lnTo>
                    <a:pt x="66" y="52"/>
                  </a:lnTo>
                  <a:lnTo>
                    <a:pt x="62" y="57"/>
                  </a:lnTo>
                  <a:lnTo>
                    <a:pt x="60" y="62"/>
                  </a:lnTo>
                  <a:lnTo>
                    <a:pt x="60" y="64"/>
                  </a:lnTo>
                  <a:lnTo>
                    <a:pt x="262" y="64"/>
                  </a:lnTo>
                  <a:lnTo>
                    <a:pt x="255" y="55"/>
                  </a:lnTo>
                  <a:lnTo>
                    <a:pt x="248" y="47"/>
                  </a:lnTo>
                  <a:lnTo>
                    <a:pt x="240" y="38"/>
                  </a:lnTo>
                  <a:lnTo>
                    <a:pt x="230" y="32"/>
                  </a:lnTo>
                  <a:lnTo>
                    <a:pt x="218" y="26"/>
                  </a:lnTo>
                  <a:lnTo>
                    <a:pt x="202" y="21"/>
                  </a:lnTo>
                  <a:lnTo>
                    <a:pt x="180" y="19"/>
                  </a:lnTo>
                  <a:lnTo>
                    <a:pt x="153" y="18"/>
                  </a:lnTo>
                  <a:close/>
                  <a:moveTo>
                    <a:pt x="144" y="0"/>
                  </a:moveTo>
                  <a:lnTo>
                    <a:pt x="180" y="0"/>
                  </a:lnTo>
                  <a:lnTo>
                    <a:pt x="208" y="2"/>
                  </a:lnTo>
                  <a:lnTo>
                    <a:pt x="232" y="9"/>
                  </a:lnTo>
                  <a:lnTo>
                    <a:pt x="252" y="18"/>
                  </a:lnTo>
                  <a:lnTo>
                    <a:pt x="267" y="26"/>
                  </a:lnTo>
                  <a:lnTo>
                    <a:pt x="280" y="37"/>
                  </a:lnTo>
                  <a:lnTo>
                    <a:pt x="290" y="46"/>
                  </a:lnTo>
                  <a:lnTo>
                    <a:pt x="299" y="53"/>
                  </a:lnTo>
                  <a:lnTo>
                    <a:pt x="307" y="60"/>
                  </a:lnTo>
                  <a:lnTo>
                    <a:pt x="313" y="62"/>
                  </a:lnTo>
                  <a:lnTo>
                    <a:pt x="335" y="69"/>
                  </a:lnTo>
                  <a:lnTo>
                    <a:pt x="352" y="79"/>
                  </a:lnTo>
                  <a:lnTo>
                    <a:pt x="363" y="89"/>
                  </a:lnTo>
                  <a:lnTo>
                    <a:pt x="371" y="102"/>
                  </a:lnTo>
                  <a:lnTo>
                    <a:pt x="376" y="114"/>
                  </a:lnTo>
                  <a:lnTo>
                    <a:pt x="377" y="127"/>
                  </a:lnTo>
                  <a:lnTo>
                    <a:pt x="377" y="137"/>
                  </a:lnTo>
                  <a:lnTo>
                    <a:pt x="376" y="146"/>
                  </a:lnTo>
                  <a:lnTo>
                    <a:pt x="375" y="151"/>
                  </a:lnTo>
                  <a:lnTo>
                    <a:pt x="375" y="154"/>
                  </a:lnTo>
                  <a:lnTo>
                    <a:pt x="330" y="154"/>
                  </a:lnTo>
                  <a:lnTo>
                    <a:pt x="326" y="134"/>
                  </a:lnTo>
                  <a:lnTo>
                    <a:pt x="316" y="119"/>
                  </a:lnTo>
                  <a:lnTo>
                    <a:pt x="300" y="109"/>
                  </a:lnTo>
                  <a:lnTo>
                    <a:pt x="281" y="105"/>
                  </a:lnTo>
                  <a:lnTo>
                    <a:pt x="262" y="109"/>
                  </a:lnTo>
                  <a:lnTo>
                    <a:pt x="248" y="119"/>
                  </a:lnTo>
                  <a:lnTo>
                    <a:pt x="236" y="134"/>
                  </a:lnTo>
                  <a:lnTo>
                    <a:pt x="232" y="154"/>
                  </a:lnTo>
                  <a:lnTo>
                    <a:pt x="125" y="154"/>
                  </a:lnTo>
                  <a:lnTo>
                    <a:pt x="121" y="134"/>
                  </a:lnTo>
                  <a:lnTo>
                    <a:pt x="110" y="119"/>
                  </a:lnTo>
                  <a:lnTo>
                    <a:pt x="95" y="109"/>
                  </a:lnTo>
                  <a:lnTo>
                    <a:pt x="76" y="105"/>
                  </a:lnTo>
                  <a:lnTo>
                    <a:pt x="58" y="109"/>
                  </a:lnTo>
                  <a:lnTo>
                    <a:pt x="42" y="119"/>
                  </a:lnTo>
                  <a:lnTo>
                    <a:pt x="32" y="134"/>
                  </a:lnTo>
                  <a:lnTo>
                    <a:pt x="28" y="154"/>
                  </a:lnTo>
                  <a:lnTo>
                    <a:pt x="3" y="154"/>
                  </a:lnTo>
                  <a:lnTo>
                    <a:pt x="1" y="152"/>
                  </a:lnTo>
                  <a:lnTo>
                    <a:pt x="1" y="147"/>
                  </a:lnTo>
                  <a:lnTo>
                    <a:pt x="0" y="138"/>
                  </a:lnTo>
                  <a:lnTo>
                    <a:pt x="0" y="128"/>
                  </a:lnTo>
                  <a:lnTo>
                    <a:pt x="1" y="115"/>
                  </a:lnTo>
                  <a:lnTo>
                    <a:pt x="3" y="102"/>
                  </a:lnTo>
                  <a:lnTo>
                    <a:pt x="7" y="87"/>
                  </a:lnTo>
                  <a:lnTo>
                    <a:pt x="12" y="73"/>
                  </a:lnTo>
                  <a:lnTo>
                    <a:pt x="21" y="57"/>
                  </a:lnTo>
                  <a:lnTo>
                    <a:pt x="31" y="43"/>
                  </a:lnTo>
                  <a:lnTo>
                    <a:pt x="45" y="30"/>
                  </a:lnTo>
                  <a:lnTo>
                    <a:pt x="63" y="19"/>
                  </a:lnTo>
                  <a:lnTo>
                    <a:pt x="86" y="10"/>
                  </a:lnTo>
                  <a:lnTo>
                    <a:pt x="112" y="3"/>
                  </a:lnTo>
                  <a:lnTo>
                    <a:pt x="144" y="0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214" name="Rounded Rectangle 213"/>
            <p:cNvSpPr/>
            <p:nvPr/>
          </p:nvSpPr>
          <p:spPr>
            <a:xfrm>
              <a:off x="513644" y="2187471"/>
              <a:ext cx="37468" cy="57423"/>
            </a:xfrm>
            <a:prstGeom prst="roundRect">
              <a:avLst/>
            </a:pr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215" name="Freeform 29"/>
            <p:cNvSpPr>
              <a:spLocks noEditPoints="1"/>
            </p:cNvSpPr>
            <p:nvPr/>
          </p:nvSpPr>
          <p:spPr bwMode="gray">
            <a:xfrm>
              <a:off x="458491" y="2068304"/>
              <a:ext cx="147774" cy="107160"/>
            </a:xfrm>
            <a:custGeom>
              <a:avLst/>
              <a:gdLst>
                <a:gd name="T0" fmla="*/ 37 w 256"/>
                <a:gd name="T1" fmla="*/ 106 h 185"/>
                <a:gd name="T2" fmla="*/ 55 w 256"/>
                <a:gd name="T3" fmla="*/ 133 h 185"/>
                <a:gd name="T4" fmla="*/ 201 w 256"/>
                <a:gd name="T5" fmla="*/ 133 h 185"/>
                <a:gd name="T6" fmla="*/ 220 w 256"/>
                <a:gd name="T7" fmla="*/ 106 h 185"/>
                <a:gd name="T8" fmla="*/ 37 w 256"/>
                <a:gd name="T9" fmla="*/ 106 h 185"/>
                <a:gd name="T10" fmla="*/ 73 w 256"/>
                <a:gd name="T11" fmla="*/ 159 h 185"/>
                <a:gd name="T12" fmla="*/ 92 w 256"/>
                <a:gd name="T13" fmla="*/ 185 h 185"/>
                <a:gd name="T14" fmla="*/ 165 w 256"/>
                <a:gd name="T15" fmla="*/ 185 h 185"/>
                <a:gd name="T16" fmla="*/ 183 w 256"/>
                <a:gd name="T17" fmla="*/ 159 h 185"/>
                <a:gd name="T18" fmla="*/ 73 w 256"/>
                <a:gd name="T19" fmla="*/ 159 h 185"/>
                <a:gd name="T20" fmla="*/ 0 w 256"/>
                <a:gd name="T21" fmla="*/ 54 h 185"/>
                <a:gd name="T22" fmla="*/ 19 w 256"/>
                <a:gd name="T23" fmla="*/ 80 h 185"/>
                <a:gd name="T24" fmla="*/ 238 w 256"/>
                <a:gd name="T25" fmla="*/ 80 h 185"/>
                <a:gd name="T26" fmla="*/ 256 w 256"/>
                <a:gd name="T27" fmla="*/ 54 h 185"/>
                <a:gd name="T28" fmla="*/ 0 w 256"/>
                <a:gd name="T29" fmla="*/ 54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6" h="185">
                  <a:moveTo>
                    <a:pt x="37" y="106"/>
                  </a:moveTo>
                  <a:cubicBezTo>
                    <a:pt x="55" y="133"/>
                    <a:pt x="55" y="133"/>
                    <a:pt x="55" y="133"/>
                  </a:cubicBezTo>
                  <a:cubicBezTo>
                    <a:pt x="99" y="102"/>
                    <a:pt x="158" y="102"/>
                    <a:pt x="201" y="133"/>
                  </a:cubicBezTo>
                  <a:cubicBezTo>
                    <a:pt x="220" y="106"/>
                    <a:pt x="220" y="106"/>
                    <a:pt x="220" y="106"/>
                  </a:cubicBezTo>
                  <a:cubicBezTo>
                    <a:pt x="165" y="68"/>
                    <a:pt x="92" y="68"/>
                    <a:pt x="37" y="106"/>
                  </a:cubicBezTo>
                  <a:close/>
                  <a:moveTo>
                    <a:pt x="73" y="159"/>
                  </a:moveTo>
                  <a:cubicBezTo>
                    <a:pt x="92" y="185"/>
                    <a:pt x="92" y="185"/>
                    <a:pt x="92" y="185"/>
                  </a:cubicBezTo>
                  <a:cubicBezTo>
                    <a:pt x="114" y="170"/>
                    <a:pt x="143" y="170"/>
                    <a:pt x="165" y="185"/>
                  </a:cubicBezTo>
                  <a:cubicBezTo>
                    <a:pt x="183" y="159"/>
                    <a:pt x="183" y="159"/>
                    <a:pt x="183" y="159"/>
                  </a:cubicBezTo>
                  <a:cubicBezTo>
                    <a:pt x="150" y="136"/>
                    <a:pt x="106" y="136"/>
                    <a:pt x="73" y="159"/>
                  </a:cubicBezTo>
                  <a:close/>
                  <a:moveTo>
                    <a:pt x="0" y="54"/>
                  </a:moveTo>
                  <a:cubicBezTo>
                    <a:pt x="19" y="80"/>
                    <a:pt x="19" y="80"/>
                    <a:pt x="19" y="80"/>
                  </a:cubicBezTo>
                  <a:cubicBezTo>
                    <a:pt x="84" y="34"/>
                    <a:pt x="172" y="34"/>
                    <a:pt x="238" y="80"/>
                  </a:cubicBezTo>
                  <a:cubicBezTo>
                    <a:pt x="256" y="54"/>
                    <a:pt x="256" y="54"/>
                    <a:pt x="256" y="54"/>
                  </a:cubicBezTo>
                  <a:cubicBezTo>
                    <a:pt x="180" y="0"/>
                    <a:pt x="77" y="0"/>
                    <a:pt x="0" y="54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3523952" y="3668275"/>
            <a:ext cx="561786" cy="218850"/>
            <a:chOff x="58666" y="1310213"/>
            <a:chExt cx="809686" cy="315422"/>
          </a:xfrm>
          <a:solidFill>
            <a:schemeClr val="bg1"/>
          </a:solidFill>
        </p:grpSpPr>
        <p:sp>
          <p:nvSpPr>
            <p:cNvPr id="253" name="Freeform 22"/>
            <p:cNvSpPr>
              <a:spLocks noEditPoints="1"/>
            </p:cNvSpPr>
            <p:nvPr/>
          </p:nvSpPr>
          <p:spPr bwMode="auto">
            <a:xfrm>
              <a:off x="205740" y="1310213"/>
              <a:ext cx="662612" cy="315422"/>
            </a:xfrm>
            <a:custGeom>
              <a:avLst/>
              <a:gdLst/>
              <a:ahLst/>
              <a:cxnLst>
                <a:cxn ang="0">
                  <a:pos x="127" y="202"/>
                </a:cxn>
                <a:cxn ang="0">
                  <a:pos x="55" y="273"/>
                </a:cxn>
                <a:cxn ang="0">
                  <a:pos x="127" y="344"/>
                </a:cxn>
                <a:cxn ang="0">
                  <a:pos x="198" y="273"/>
                </a:cxn>
                <a:cxn ang="0">
                  <a:pos x="127" y="202"/>
                </a:cxn>
                <a:cxn ang="0">
                  <a:pos x="127" y="314"/>
                </a:cxn>
                <a:cxn ang="0">
                  <a:pos x="85" y="273"/>
                </a:cxn>
                <a:cxn ang="0">
                  <a:pos x="127" y="232"/>
                </a:cxn>
                <a:cxn ang="0">
                  <a:pos x="168" y="273"/>
                </a:cxn>
                <a:cxn ang="0">
                  <a:pos x="127" y="314"/>
                </a:cxn>
                <a:cxn ang="0">
                  <a:pos x="593" y="202"/>
                </a:cxn>
                <a:cxn ang="0">
                  <a:pos x="522" y="273"/>
                </a:cxn>
                <a:cxn ang="0">
                  <a:pos x="593" y="344"/>
                </a:cxn>
                <a:cxn ang="0">
                  <a:pos x="665" y="273"/>
                </a:cxn>
                <a:cxn ang="0">
                  <a:pos x="593" y="202"/>
                </a:cxn>
                <a:cxn ang="0">
                  <a:pos x="593" y="314"/>
                </a:cxn>
                <a:cxn ang="0">
                  <a:pos x="552" y="273"/>
                </a:cxn>
                <a:cxn ang="0">
                  <a:pos x="593" y="232"/>
                </a:cxn>
                <a:cxn ang="0">
                  <a:pos x="635" y="273"/>
                </a:cxn>
                <a:cxn ang="0">
                  <a:pos x="593" y="314"/>
                </a:cxn>
                <a:cxn ang="0">
                  <a:pos x="663" y="135"/>
                </a:cxn>
                <a:cxn ang="0">
                  <a:pos x="502" y="102"/>
                </a:cxn>
                <a:cxn ang="0">
                  <a:pos x="280" y="0"/>
                </a:cxn>
                <a:cxn ang="0">
                  <a:pos x="280" y="0"/>
                </a:cxn>
                <a:cxn ang="0">
                  <a:pos x="219" y="0"/>
                </a:cxn>
                <a:cxn ang="0">
                  <a:pos x="0" y="218"/>
                </a:cxn>
                <a:cxn ang="0">
                  <a:pos x="13" y="293"/>
                </a:cxn>
                <a:cxn ang="0">
                  <a:pos x="27" y="293"/>
                </a:cxn>
                <a:cxn ang="0">
                  <a:pos x="27" y="273"/>
                </a:cxn>
                <a:cxn ang="0">
                  <a:pos x="127" y="173"/>
                </a:cxn>
                <a:cxn ang="0">
                  <a:pos x="227" y="273"/>
                </a:cxn>
                <a:cxn ang="0">
                  <a:pos x="227" y="293"/>
                </a:cxn>
                <a:cxn ang="0">
                  <a:pos x="493" y="293"/>
                </a:cxn>
                <a:cxn ang="0">
                  <a:pos x="493" y="273"/>
                </a:cxn>
                <a:cxn ang="0">
                  <a:pos x="593" y="173"/>
                </a:cxn>
                <a:cxn ang="0">
                  <a:pos x="693" y="273"/>
                </a:cxn>
                <a:cxn ang="0">
                  <a:pos x="693" y="293"/>
                </a:cxn>
                <a:cxn ang="0">
                  <a:pos x="707" y="293"/>
                </a:cxn>
                <a:cxn ang="0">
                  <a:pos x="720" y="233"/>
                </a:cxn>
                <a:cxn ang="0">
                  <a:pos x="663" y="135"/>
                </a:cxn>
                <a:cxn ang="0">
                  <a:pos x="147" y="120"/>
                </a:cxn>
                <a:cxn ang="0">
                  <a:pos x="115" y="90"/>
                </a:cxn>
                <a:cxn ang="0">
                  <a:pos x="222" y="26"/>
                </a:cxn>
                <a:cxn ang="0">
                  <a:pos x="253" y="26"/>
                </a:cxn>
                <a:cxn ang="0">
                  <a:pos x="273" y="120"/>
                </a:cxn>
                <a:cxn ang="0">
                  <a:pos x="147" y="120"/>
                </a:cxn>
                <a:cxn ang="0">
                  <a:pos x="313" y="120"/>
                </a:cxn>
                <a:cxn ang="0">
                  <a:pos x="292" y="27"/>
                </a:cxn>
                <a:cxn ang="0">
                  <a:pos x="480" y="120"/>
                </a:cxn>
                <a:cxn ang="0">
                  <a:pos x="313" y="120"/>
                </a:cxn>
              </a:cxnLst>
              <a:rect l="0" t="0" r="r" b="b"/>
              <a:pathLst>
                <a:path w="720" h="344">
                  <a:moveTo>
                    <a:pt x="127" y="202"/>
                  </a:moveTo>
                  <a:cubicBezTo>
                    <a:pt x="87" y="202"/>
                    <a:pt x="55" y="234"/>
                    <a:pt x="55" y="273"/>
                  </a:cubicBezTo>
                  <a:cubicBezTo>
                    <a:pt x="55" y="312"/>
                    <a:pt x="87" y="344"/>
                    <a:pt x="127" y="344"/>
                  </a:cubicBezTo>
                  <a:cubicBezTo>
                    <a:pt x="166" y="344"/>
                    <a:pt x="198" y="312"/>
                    <a:pt x="198" y="273"/>
                  </a:cubicBezTo>
                  <a:cubicBezTo>
                    <a:pt x="198" y="234"/>
                    <a:pt x="166" y="202"/>
                    <a:pt x="127" y="202"/>
                  </a:cubicBezTo>
                  <a:close/>
                  <a:moveTo>
                    <a:pt x="127" y="314"/>
                  </a:moveTo>
                  <a:cubicBezTo>
                    <a:pt x="104" y="314"/>
                    <a:pt x="85" y="296"/>
                    <a:pt x="85" y="273"/>
                  </a:cubicBezTo>
                  <a:cubicBezTo>
                    <a:pt x="85" y="250"/>
                    <a:pt x="104" y="232"/>
                    <a:pt x="127" y="232"/>
                  </a:cubicBezTo>
                  <a:cubicBezTo>
                    <a:pt x="149" y="232"/>
                    <a:pt x="168" y="250"/>
                    <a:pt x="168" y="273"/>
                  </a:cubicBezTo>
                  <a:cubicBezTo>
                    <a:pt x="168" y="296"/>
                    <a:pt x="149" y="314"/>
                    <a:pt x="127" y="314"/>
                  </a:cubicBezTo>
                  <a:close/>
                  <a:moveTo>
                    <a:pt x="593" y="202"/>
                  </a:moveTo>
                  <a:cubicBezTo>
                    <a:pt x="554" y="202"/>
                    <a:pt x="522" y="234"/>
                    <a:pt x="522" y="273"/>
                  </a:cubicBezTo>
                  <a:cubicBezTo>
                    <a:pt x="522" y="312"/>
                    <a:pt x="554" y="344"/>
                    <a:pt x="593" y="344"/>
                  </a:cubicBezTo>
                  <a:cubicBezTo>
                    <a:pt x="633" y="344"/>
                    <a:pt x="665" y="312"/>
                    <a:pt x="665" y="273"/>
                  </a:cubicBezTo>
                  <a:cubicBezTo>
                    <a:pt x="665" y="234"/>
                    <a:pt x="633" y="202"/>
                    <a:pt x="593" y="202"/>
                  </a:cubicBezTo>
                  <a:close/>
                  <a:moveTo>
                    <a:pt x="593" y="314"/>
                  </a:moveTo>
                  <a:cubicBezTo>
                    <a:pt x="571" y="314"/>
                    <a:pt x="552" y="296"/>
                    <a:pt x="552" y="273"/>
                  </a:cubicBezTo>
                  <a:cubicBezTo>
                    <a:pt x="552" y="250"/>
                    <a:pt x="571" y="232"/>
                    <a:pt x="593" y="232"/>
                  </a:cubicBezTo>
                  <a:cubicBezTo>
                    <a:pt x="616" y="232"/>
                    <a:pt x="635" y="250"/>
                    <a:pt x="635" y="273"/>
                  </a:cubicBezTo>
                  <a:cubicBezTo>
                    <a:pt x="635" y="296"/>
                    <a:pt x="616" y="314"/>
                    <a:pt x="593" y="314"/>
                  </a:cubicBezTo>
                  <a:close/>
                  <a:moveTo>
                    <a:pt x="663" y="135"/>
                  </a:moveTo>
                  <a:cubicBezTo>
                    <a:pt x="641" y="125"/>
                    <a:pt x="527" y="106"/>
                    <a:pt x="502" y="102"/>
                  </a:cubicBezTo>
                  <a:cubicBezTo>
                    <a:pt x="424" y="9"/>
                    <a:pt x="328" y="1"/>
                    <a:pt x="280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72" y="0"/>
                    <a:pt x="0" y="157"/>
                    <a:pt x="0" y="218"/>
                  </a:cubicBezTo>
                  <a:cubicBezTo>
                    <a:pt x="0" y="248"/>
                    <a:pt x="5" y="273"/>
                    <a:pt x="13" y="293"/>
                  </a:cubicBezTo>
                  <a:cubicBezTo>
                    <a:pt x="27" y="293"/>
                    <a:pt x="27" y="293"/>
                    <a:pt x="27" y="293"/>
                  </a:cubicBezTo>
                  <a:cubicBezTo>
                    <a:pt x="27" y="273"/>
                    <a:pt x="27" y="273"/>
                    <a:pt x="27" y="273"/>
                  </a:cubicBezTo>
                  <a:cubicBezTo>
                    <a:pt x="27" y="218"/>
                    <a:pt x="71" y="173"/>
                    <a:pt x="127" y="173"/>
                  </a:cubicBezTo>
                  <a:cubicBezTo>
                    <a:pt x="182" y="173"/>
                    <a:pt x="227" y="218"/>
                    <a:pt x="227" y="273"/>
                  </a:cubicBezTo>
                  <a:cubicBezTo>
                    <a:pt x="227" y="293"/>
                    <a:pt x="227" y="293"/>
                    <a:pt x="227" y="293"/>
                  </a:cubicBezTo>
                  <a:cubicBezTo>
                    <a:pt x="493" y="293"/>
                    <a:pt x="493" y="293"/>
                    <a:pt x="493" y="293"/>
                  </a:cubicBezTo>
                  <a:cubicBezTo>
                    <a:pt x="493" y="273"/>
                    <a:pt x="493" y="273"/>
                    <a:pt x="493" y="273"/>
                  </a:cubicBezTo>
                  <a:cubicBezTo>
                    <a:pt x="493" y="218"/>
                    <a:pt x="538" y="173"/>
                    <a:pt x="593" y="173"/>
                  </a:cubicBezTo>
                  <a:cubicBezTo>
                    <a:pt x="649" y="173"/>
                    <a:pt x="693" y="218"/>
                    <a:pt x="693" y="273"/>
                  </a:cubicBezTo>
                  <a:cubicBezTo>
                    <a:pt x="693" y="293"/>
                    <a:pt x="693" y="293"/>
                    <a:pt x="693" y="293"/>
                  </a:cubicBezTo>
                  <a:cubicBezTo>
                    <a:pt x="707" y="293"/>
                    <a:pt x="707" y="293"/>
                    <a:pt x="707" y="293"/>
                  </a:cubicBezTo>
                  <a:cubicBezTo>
                    <a:pt x="712" y="273"/>
                    <a:pt x="720" y="250"/>
                    <a:pt x="720" y="233"/>
                  </a:cubicBezTo>
                  <a:cubicBezTo>
                    <a:pt x="720" y="206"/>
                    <a:pt x="719" y="159"/>
                    <a:pt x="663" y="135"/>
                  </a:cubicBezTo>
                  <a:close/>
                  <a:moveTo>
                    <a:pt x="147" y="120"/>
                  </a:moveTo>
                  <a:cubicBezTo>
                    <a:pt x="135" y="120"/>
                    <a:pt x="120" y="107"/>
                    <a:pt x="115" y="90"/>
                  </a:cubicBezTo>
                  <a:cubicBezTo>
                    <a:pt x="130" y="56"/>
                    <a:pt x="170" y="26"/>
                    <a:pt x="222" y="26"/>
                  </a:cubicBezTo>
                  <a:cubicBezTo>
                    <a:pt x="253" y="26"/>
                    <a:pt x="253" y="26"/>
                    <a:pt x="253" y="26"/>
                  </a:cubicBezTo>
                  <a:cubicBezTo>
                    <a:pt x="273" y="120"/>
                    <a:pt x="273" y="120"/>
                    <a:pt x="273" y="120"/>
                  </a:cubicBezTo>
                  <a:lnTo>
                    <a:pt x="147" y="120"/>
                  </a:lnTo>
                  <a:close/>
                  <a:moveTo>
                    <a:pt x="313" y="120"/>
                  </a:moveTo>
                  <a:cubicBezTo>
                    <a:pt x="292" y="27"/>
                    <a:pt x="292" y="27"/>
                    <a:pt x="292" y="27"/>
                  </a:cubicBezTo>
                  <a:cubicBezTo>
                    <a:pt x="339" y="30"/>
                    <a:pt x="413" y="45"/>
                    <a:pt x="480" y="120"/>
                  </a:cubicBezTo>
                  <a:lnTo>
                    <a:pt x="313" y="1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500">
                <a:latin typeface="+mn-lt"/>
              </a:endParaRPr>
            </a:p>
          </p:txBody>
        </p:sp>
        <p:grpSp>
          <p:nvGrpSpPr>
            <p:cNvPr id="254" name="Group 253"/>
            <p:cNvGrpSpPr/>
            <p:nvPr/>
          </p:nvGrpSpPr>
          <p:grpSpPr>
            <a:xfrm>
              <a:off x="58666" y="1328992"/>
              <a:ext cx="171081" cy="162679"/>
              <a:chOff x="5251451" y="2062163"/>
              <a:chExt cx="612776" cy="582680"/>
            </a:xfrm>
            <a:grpFill/>
          </p:grpSpPr>
          <p:sp>
            <p:nvSpPr>
              <p:cNvPr id="255" name="Freeform 198"/>
              <p:cNvSpPr>
                <a:spLocks/>
              </p:cNvSpPr>
              <p:nvPr/>
            </p:nvSpPr>
            <p:spPr bwMode="auto">
              <a:xfrm>
                <a:off x="5345115" y="2170114"/>
                <a:ext cx="519112" cy="474729"/>
              </a:xfrm>
              <a:custGeom>
                <a:avLst/>
                <a:gdLst>
                  <a:gd name="T0" fmla="*/ 87 w 304"/>
                  <a:gd name="T1" fmla="*/ 277 h 277"/>
                  <a:gd name="T2" fmla="*/ 197 w 304"/>
                  <a:gd name="T3" fmla="*/ 277 h 277"/>
                  <a:gd name="T4" fmla="*/ 214 w 304"/>
                  <a:gd name="T5" fmla="*/ 260 h 277"/>
                  <a:gd name="T6" fmla="*/ 197 w 304"/>
                  <a:gd name="T7" fmla="*/ 244 h 277"/>
                  <a:gd name="T8" fmla="*/ 87 w 304"/>
                  <a:gd name="T9" fmla="*/ 243 h 277"/>
                  <a:gd name="T10" fmla="*/ 38 w 304"/>
                  <a:gd name="T11" fmla="*/ 199 h 277"/>
                  <a:gd name="T12" fmla="*/ 87 w 304"/>
                  <a:gd name="T13" fmla="*/ 155 h 277"/>
                  <a:gd name="T14" fmla="*/ 108 w 304"/>
                  <a:gd name="T15" fmla="*/ 155 h 277"/>
                  <a:gd name="T16" fmla="*/ 108 w 304"/>
                  <a:gd name="T17" fmla="*/ 155 h 277"/>
                  <a:gd name="T18" fmla="*/ 218 w 304"/>
                  <a:gd name="T19" fmla="*/ 155 h 277"/>
                  <a:gd name="T20" fmla="*/ 304 w 304"/>
                  <a:gd name="T21" fmla="*/ 77 h 277"/>
                  <a:gd name="T22" fmla="*/ 218 w 304"/>
                  <a:gd name="T23" fmla="*/ 0 h 277"/>
                  <a:gd name="T24" fmla="*/ 175 w 304"/>
                  <a:gd name="T25" fmla="*/ 0 h 277"/>
                  <a:gd name="T26" fmla="*/ 175 w 304"/>
                  <a:gd name="T27" fmla="*/ 33 h 277"/>
                  <a:gd name="T28" fmla="*/ 218 w 304"/>
                  <a:gd name="T29" fmla="*/ 33 h 277"/>
                  <a:gd name="T30" fmla="*/ 267 w 304"/>
                  <a:gd name="T31" fmla="*/ 77 h 277"/>
                  <a:gd name="T32" fmla="*/ 218 w 304"/>
                  <a:gd name="T33" fmla="*/ 122 h 277"/>
                  <a:gd name="T34" fmla="*/ 87 w 304"/>
                  <a:gd name="T35" fmla="*/ 122 h 277"/>
                  <a:gd name="T36" fmla="*/ 0 w 304"/>
                  <a:gd name="T37" fmla="*/ 199 h 277"/>
                  <a:gd name="T38" fmla="*/ 87 w 304"/>
                  <a:gd name="T39" fmla="*/ 277 h 277"/>
                  <a:gd name="connsiteX0" fmla="*/ 2862 w 10000"/>
                  <a:gd name="connsiteY0" fmla="*/ 10000 h 10000"/>
                  <a:gd name="connsiteX1" fmla="*/ 6480 w 10000"/>
                  <a:gd name="connsiteY1" fmla="*/ 10000 h 10000"/>
                  <a:gd name="connsiteX2" fmla="*/ 7039 w 10000"/>
                  <a:gd name="connsiteY2" fmla="*/ 9386 h 10000"/>
                  <a:gd name="connsiteX3" fmla="*/ 9437 w 10000"/>
                  <a:gd name="connsiteY3" fmla="*/ 8809 h 10000"/>
                  <a:gd name="connsiteX4" fmla="*/ 2862 w 10000"/>
                  <a:gd name="connsiteY4" fmla="*/ 8773 h 10000"/>
                  <a:gd name="connsiteX5" fmla="*/ 1250 w 10000"/>
                  <a:gd name="connsiteY5" fmla="*/ 7184 h 10000"/>
                  <a:gd name="connsiteX6" fmla="*/ 2862 w 10000"/>
                  <a:gd name="connsiteY6" fmla="*/ 5596 h 10000"/>
                  <a:gd name="connsiteX7" fmla="*/ 3553 w 10000"/>
                  <a:gd name="connsiteY7" fmla="*/ 5596 h 10000"/>
                  <a:gd name="connsiteX8" fmla="*/ 3553 w 10000"/>
                  <a:gd name="connsiteY8" fmla="*/ 5596 h 10000"/>
                  <a:gd name="connsiteX9" fmla="*/ 7171 w 10000"/>
                  <a:gd name="connsiteY9" fmla="*/ 5596 h 10000"/>
                  <a:gd name="connsiteX10" fmla="*/ 10000 w 10000"/>
                  <a:gd name="connsiteY10" fmla="*/ 2780 h 10000"/>
                  <a:gd name="connsiteX11" fmla="*/ 7171 w 10000"/>
                  <a:gd name="connsiteY11" fmla="*/ 0 h 10000"/>
                  <a:gd name="connsiteX12" fmla="*/ 5757 w 10000"/>
                  <a:gd name="connsiteY12" fmla="*/ 0 h 10000"/>
                  <a:gd name="connsiteX13" fmla="*/ 5757 w 10000"/>
                  <a:gd name="connsiteY13" fmla="*/ 1191 h 10000"/>
                  <a:gd name="connsiteX14" fmla="*/ 7171 w 10000"/>
                  <a:gd name="connsiteY14" fmla="*/ 1191 h 10000"/>
                  <a:gd name="connsiteX15" fmla="*/ 8783 w 10000"/>
                  <a:gd name="connsiteY15" fmla="*/ 2780 h 10000"/>
                  <a:gd name="connsiteX16" fmla="*/ 7171 w 10000"/>
                  <a:gd name="connsiteY16" fmla="*/ 4404 h 10000"/>
                  <a:gd name="connsiteX17" fmla="*/ 2862 w 10000"/>
                  <a:gd name="connsiteY17" fmla="*/ 4404 h 10000"/>
                  <a:gd name="connsiteX18" fmla="*/ 0 w 10000"/>
                  <a:gd name="connsiteY18" fmla="*/ 7184 h 10000"/>
                  <a:gd name="connsiteX19" fmla="*/ 2862 w 10000"/>
                  <a:gd name="connsiteY19" fmla="*/ 10000 h 10000"/>
                  <a:gd name="connsiteX0" fmla="*/ 2862 w 10000"/>
                  <a:gd name="connsiteY0" fmla="*/ 10000 h 10035"/>
                  <a:gd name="connsiteX1" fmla="*/ 6480 w 10000"/>
                  <a:gd name="connsiteY1" fmla="*/ 10000 h 10035"/>
                  <a:gd name="connsiteX2" fmla="*/ 9175 w 10000"/>
                  <a:gd name="connsiteY2" fmla="*/ 9927 h 10035"/>
                  <a:gd name="connsiteX3" fmla="*/ 9437 w 10000"/>
                  <a:gd name="connsiteY3" fmla="*/ 8809 h 10035"/>
                  <a:gd name="connsiteX4" fmla="*/ 2862 w 10000"/>
                  <a:gd name="connsiteY4" fmla="*/ 8773 h 10035"/>
                  <a:gd name="connsiteX5" fmla="*/ 1250 w 10000"/>
                  <a:gd name="connsiteY5" fmla="*/ 7184 h 10035"/>
                  <a:gd name="connsiteX6" fmla="*/ 2862 w 10000"/>
                  <a:gd name="connsiteY6" fmla="*/ 5596 h 10035"/>
                  <a:gd name="connsiteX7" fmla="*/ 3553 w 10000"/>
                  <a:gd name="connsiteY7" fmla="*/ 5596 h 10035"/>
                  <a:gd name="connsiteX8" fmla="*/ 3553 w 10000"/>
                  <a:gd name="connsiteY8" fmla="*/ 5596 h 10035"/>
                  <a:gd name="connsiteX9" fmla="*/ 7171 w 10000"/>
                  <a:gd name="connsiteY9" fmla="*/ 5596 h 10035"/>
                  <a:gd name="connsiteX10" fmla="*/ 10000 w 10000"/>
                  <a:gd name="connsiteY10" fmla="*/ 2780 h 10035"/>
                  <a:gd name="connsiteX11" fmla="*/ 7171 w 10000"/>
                  <a:gd name="connsiteY11" fmla="*/ 0 h 10035"/>
                  <a:gd name="connsiteX12" fmla="*/ 5757 w 10000"/>
                  <a:gd name="connsiteY12" fmla="*/ 0 h 10035"/>
                  <a:gd name="connsiteX13" fmla="*/ 5757 w 10000"/>
                  <a:gd name="connsiteY13" fmla="*/ 1191 h 10035"/>
                  <a:gd name="connsiteX14" fmla="*/ 7171 w 10000"/>
                  <a:gd name="connsiteY14" fmla="*/ 1191 h 10035"/>
                  <a:gd name="connsiteX15" fmla="*/ 8783 w 10000"/>
                  <a:gd name="connsiteY15" fmla="*/ 2780 h 10035"/>
                  <a:gd name="connsiteX16" fmla="*/ 7171 w 10000"/>
                  <a:gd name="connsiteY16" fmla="*/ 4404 h 10035"/>
                  <a:gd name="connsiteX17" fmla="*/ 2862 w 10000"/>
                  <a:gd name="connsiteY17" fmla="*/ 4404 h 10035"/>
                  <a:gd name="connsiteX18" fmla="*/ 0 w 10000"/>
                  <a:gd name="connsiteY18" fmla="*/ 7184 h 10035"/>
                  <a:gd name="connsiteX19" fmla="*/ 2862 w 10000"/>
                  <a:gd name="connsiteY19" fmla="*/ 10000 h 10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000" h="10035">
                    <a:moveTo>
                      <a:pt x="2862" y="10000"/>
                    </a:moveTo>
                    <a:lnTo>
                      <a:pt x="6480" y="10000"/>
                    </a:lnTo>
                    <a:cubicBezTo>
                      <a:pt x="7532" y="9988"/>
                      <a:pt x="8682" y="10126"/>
                      <a:pt x="9175" y="9927"/>
                    </a:cubicBezTo>
                    <a:cubicBezTo>
                      <a:pt x="9668" y="9728"/>
                      <a:pt x="10489" y="9001"/>
                      <a:pt x="9437" y="8809"/>
                    </a:cubicBezTo>
                    <a:cubicBezTo>
                      <a:pt x="8385" y="8617"/>
                      <a:pt x="4226" y="9044"/>
                      <a:pt x="2862" y="8773"/>
                    </a:cubicBezTo>
                    <a:cubicBezTo>
                      <a:pt x="1498" y="8502"/>
                      <a:pt x="1250" y="8087"/>
                      <a:pt x="1250" y="7184"/>
                    </a:cubicBezTo>
                    <a:cubicBezTo>
                      <a:pt x="1250" y="6318"/>
                      <a:pt x="1974" y="5596"/>
                      <a:pt x="2862" y="5596"/>
                    </a:cubicBezTo>
                    <a:lnTo>
                      <a:pt x="3553" y="5596"/>
                    </a:lnTo>
                    <a:lnTo>
                      <a:pt x="3553" y="5596"/>
                    </a:lnTo>
                    <a:lnTo>
                      <a:pt x="7171" y="5596"/>
                    </a:lnTo>
                    <a:cubicBezTo>
                      <a:pt x="8717" y="5596"/>
                      <a:pt x="10000" y="4332"/>
                      <a:pt x="10000" y="2780"/>
                    </a:cubicBezTo>
                    <a:cubicBezTo>
                      <a:pt x="10000" y="1227"/>
                      <a:pt x="8717" y="0"/>
                      <a:pt x="7171" y="0"/>
                    </a:cubicBezTo>
                    <a:lnTo>
                      <a:pt x="5757" y="0"/>
                    </a:lnTo>
                    <a:lnTo>
                      <a:pt x="5757" y="1191"/>
                    </a:lnTo>
                    <a:lnTo>
                      <a:pt x="7171" y="1191"/>
                    </a:lnTo>
                    <a:cubicBezTo>
                      <a:pt x="8059" y="1191"/>
                      <a:pt x="8783" y="1913"/>
                      <a:pt x="8783" y="2780"/>
                    </a:cubicBezTo>
                    <a:cubicBezTo>
                      <a:pt x="8783" y="3682"/>
                      <a:pt x="8059" y="4404"/>
                      <a:pt x="7171" y="4404"/>
                    </a:cubicBezTo>
                    <a:lnTo>
                      <a:pt x="2862" y="4404"/>
                    </a:lnTo>
                    <a:cubicBezTo>
                      <a:pt x="1283" y="4368"/>
                      <a:pt x="0" y="5632"/>
                      <a:pt x="0" y="7184"/>
                    </a:cubicBezTo>
                    <a:cubicBezTo>
                      <a:pt x="0" y="8736"/>
                      <a:pt x="1283" y="10000"/>
                      <a:pt x="2862" y="1000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56" name="Freeform 199"/>
              <p:cNvSpPr>
                <a:spLocks/>
              </p:cNvSpPr>
              <p:nvPr/>
            </p:nvSpPr>
            <p:spPr bwMode="auto">
              <a:xfrm>
                <a:off x="5368926" y="2079625"/>
                <a:ext cx="266700" cy="234950"/>
              </a:xfrm>
              <a:custGeom>
                <a:avLst/>
                <a:gdLst>
                  <a:gd name="T0" fmla="*/ 9 w 156"/>
                  <a:gd name="T1" fmla="*/ 0 h 137"/>
                  <a:gd name="T2" fmla="*/ 103 w 156"/>
                  <a:gd name="T3" fmla="*/ 0 h 137"/>
                  <a:gd name="T4" fmla="*/ 156 w 156"/>
                  <a:gd name="T5" fmla="*/ 61 h 137"/>
                  <a:gd name="T6" fmla="*/ 156 w 156"/>
                  <a:gd name="T7" fmla="*/ 76 h 137"/>
                  <a:gd name="T8" fmla="*/ 103 w 156"/>
                  <a:gd name="T9" fmla="*/ 137 h 137"/>
                  <a:gd name="T10" fmla="*/ 9 w 156"/>
                  <a:gd name="T11" fmla="*/ 137 h 137"/>
                  <a:gd name="T12" fmla="*/ 0 w 156"/>
                  <a:gd name="T13" fmla="*/ 127 h 137"/>
                  <a:gd name="T14" fmla="*/ 0 w 156"/>
                  <a:gd name="T15" fmla="*/ 10 h 137"/>
                  <a:gd name="T16" fmla="*/ 9 w 156"/>
                  <a:gd name="T17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6" h="137">
                    <a:moveTo>
                      <a:pt x="9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32" y="0"/>
                      <a:pt x="156" y="27"/>
                      <a:pt x="156" y="61"/>
                    </a:cubicBezTo>
                    <a:cubicBezTo>
                      <a:pt x="156" y="76"/>
                      <a:pt x="156" y="76"/>
                      <a:pt x="156" y="76"/>
                    </a:cubicBezTo>
                    <a:cubicBezTo>
                      <a:pt x="156" y="110"/>
                      <a:pt x="132" y="137"/>
                      <a:pt x="103" y="137"/>
                    </a:cubicBezTo>
                    <a:cubicBezTo>
                      <a:pt x="9" y="137"/>
                      <a:pt x="9" y="137"/>
                      <a:pt x="9" y="137"/>
                    </a:cubicBezTo>
                    <a:cubicBezTo>
                      <a:pt x="4" y="137"/>
                      <a:pt x="0" y="132"/>
                      <a:pt x="0" y="127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9" y="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57" name="Freeform 200"/>
              <p:cNvSpPr>
                <a:spLocks noEditPoints="1"/>
              </p:cNvSpPr>
              <p:nvPr/>
            </p:nvSpPr>
            <p:spPr bwMode="auto">
              <a:xfrm>
                <a:off x="5353051" y="2062163"/>
                <a:ext cx="300038" cy="268288"/>
              </a:xfrm>
              <a:custGeom>
                <a:avLst/>
                <a:gdLst>
                  <a:gd name="T0" fmla="*/ 113 w 176"/>
                  <a:gd name="T1" fmla="*/ 157 h 157"/>
                  <a:gd name="T2" fmla="*/ 19 w 176"/>
                  <a:gd name="T3" fmla="*/ 157 h 157"/>
                  <a:gd name="T4" fmla="*/ 0 w 176"/>
                  <a:gd name="T5" fmla="*/ 137 h 157"/>
                  <a:gd name="T6" fmla="*/ 0 w 176"/>
                  <a:gd name="T7" fmla="*/ 20 h 157"/>
                  <a:gd name="T8" fmla="*/ 19 w 176"/>
                  <a:gd name="T9" fmla="*/ 0 h 157"/>
                  <a:gd name="T10" fmla="*/ 113 w 176"/>
                  <a:gd name="T11" fmla="*/ 0 h 157"/>
                  <a:gd name="T12" fmla="*/ 176 w 176"/>
                  <a:gd name="T13" fmla="*/ 71 h 157"/>
                  <a:gd name="T14" fmla="*/ 176 w 176"/>
                  <a:gd name="T15" fmla="*/ 86 h 157"/>
                  <a:gd name="T16" fmla="*/ 113 w 176"/>
                  <a:gd name="T17" fmla="*/ 157 h 157"/>
                  <a:gd name="T18" fmla="*/ 20 w 176"/>
                  <a:gd name="T19" fmla="*/ 137 h 157"/>
                  <a:gd name="T20" fmla="*/ 113 w 176"/>
                  <a:gd name="T21" fmla="*/ 137 h 157"/>
                  <a:gd name="T22" fmla="*/ 156 w 176"/>
                  <a:gd name="T23" fmla="*/ 86 h 157"/>
                  <a:gd name="T24" fmla="*/ 156 w 176"/>
                  <a:gd name="T25" fmla="*/ 71 h 157"/>
                  <a:gd name="T26" fmla="*/ 113 w 176"/>
                  <a:gd name="T27" fmla="*/ 20 h 157"/>
                  <a:gd name="T28" fmla="*/ 20 w 176"/>
                  <a:gd name="T29" fmla="*/ 20 h 157"/>
                  <a:gd name="T30" fmla="*/ 20 w 176"/>
                  <a:gd name="T31" fmla="*/ 20 h 157"/>
                  <a:gd name="T32" fmla="*/ 20 w 176"/>
                  <a:gd name="T33" fmla="*/ 137 h 157"/>
                  <a:gd name="T34" fmla="*/ 20 w 176"/>
                  <a:gd name="T35" fmla="*/ 13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6" h="157">
                    <a:moveTo>
                      <a:pt x="113" y="157"/>
                    </a:moveTo>
                    <a:cubicBezTo>
                      <a:pt x="19" y="157"/>
                      <a:pt x="19" y="157"/>
                      <a:pt x="19" y="157"/>
                    </a:cubicBezTo>
                    <a:cubicBezTo>
                      <a:pt x="9" y="157"/>
                      <a:pt x="0" y="148"/>
                      <a:pt x="0" y="137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8" y="0"/>
                      <a:pt x="19" y="0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48" y="0"/>
                      <a:pt x="176" y="32"/>
                      <a:pt x="176" y="71"/>
                    </a:cubicBezTo>
                    <a:cubicBezTo>
                      <a:pt x="176" y="86"/>
                      <a:pt x="176" y="86"/>
                      <a:pt x="176" y="86"/>
                    </a:cubicBezTo>
                    <a:cubicBezTo>
                      <a:pt x="176" y="125"/>
                      <a:pt x="148" y="157"/>
                      <a:pt x="113" y="157"/>
                    </a:cubicBezTo>
                    <a:close/>
                    <a:moveTo>
                      <a:pt x="20" y="137"/>
                    </a:move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37" y="137"/>
                      <a:pt x="156" y="114"/>
                      <a:pt x="156" y="86"/>
                    </a:cubicBezTo>
                    <a:cubicBezTo>
                      <a:pt x="156" y="71"/>
                      <a:pt x="156" y="71"/>
                      <a:pt x="156" y="71"/>
                    </a:cubicBezTo>
                    <a:cubicBezTo>
                      <a:pt x="156" y="43"/>
                      <a:pt x="137" y="20"/>
                      <a:pt x="113" y="20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0" y="137"/>
                      <a:pt x="20" y="137"/>
                      <a:pt x="20" y="137"/>
                    </a:cubicBezTo>
                    <a:cubicBezTo>
                      <a:pt x="20" y="137"/>
                      <a:pt x="20" y="137"/>
                      <a:pt x="20" y="13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58" name="Freeform 201"/>
              <p:cNvSpPr>
                <a:spLocks/>
              </p:cNvSpPr>
              <p:nvPr/>
            </p:nvSpPr>
            <p:spPr bwMode="auto">
              <a:xfrm>
                <a:off x="5251451" y="2119313"/>
                <a:ext cx="109538" cy="50800"/>
              </a:xfrm>
              <a:custGeom>
                <a:avLst/>
                <a:gdLst>
                  <a:gd name="T0" fmla="*/ 64 w 64"/>
                  <a:gd name="T1" fmla="*/ 0 h 30"/>
                  <a:gd name="T2" fmla="*/ 11 w 64"/>
                  <a:gd name="T3" fmla="*/ 0 h 30"/>
                  <a:gd name="T4" fmla="*/ 0 w 64"/>
                  <a:gd name="T5" fmla="*/ 13 h 30"/>
                  <a:gd name="T6" fmla="*/ 0 w 64"/>
                  <a:gd name="T7" fmla="*/ 16 h 30"/>
                  <a:gd name="T8" fmla="*/ 11 w 64"/>
                  <a:gd name="T9" fmla="*/ 30 h 30"/>
                  <a:gd name="T10" fmla="*/ 64 w 64"/>
                  <a:gd name="T11" fmla="*/ 30 h 30"/>
                  <a:gd name="T12" fmla="*/ 64 w 64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30">
                    <a:moveTo>
                      <a:pt x="64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6"/>
                      <a:pt x="0" y="13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23"/>
                      <a:pt x="5" y="30"/>
                      <a:pt x="11" y="30"/>
                    </a:cubicBezTo>
                    <a:cubicBezTo>
                      <a:pt x="64" y="30"/>
                      <a:pt x="64" y="30"/>
                      <a:pt x="64" y="30"/>
                    </a:cubicBez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srgbClr val="000000"/>
                  </a:solidFill>
                  <a:latin typeface="+mn-lt"/>
                </a:endParaRPr>
              </a:p>
            </p:txBody>
          </p:sp>
          <p:sp>
            <p:nvSpPr>
              <p:cNvPr id="259" name="Freeform 202"/>
              <p:cNvSpPr>
                <a:spLocks/>
              </p:cNvSpPr>
              <p:nvPr/>
            </p:nvSpPr>
            <p:spPr bwMode="auto">
              <a:xfrm>
                <a:off x="5251451" y="2224088"/>
                <a:ext cx="109538" cy="50800"/>
              </a:xfrm>
              <a:custGeom>
                <a:avLst/>
                <a:gdLst>
                  <a:gd name="T0" fmla="*/ 64 w 64"/>
                  <a:gd name="T1" fmla="*/ 0 h 30"/>
                  <a:gd name="T2" fmla="*/ 11 w 64"/>
                  <a:gd name="T3" fmla="*/ 0 h 30"/>
                  <a:gd name="T4" fmla="*/ 0 w 64"/>
                  <a:gd name="T5" fmla="*/ 14 h 30"/>
                  <a:gd name="T6" fmla="*/ 0 w 64"/>
                  <a:gd name="T7" fmla="*/ 17 h 30"/>
                  <a:gd name="T8" fmla="*/ 11 w 64"/>
                  <a:gd name="T9" fmla="*/ 30 h 30"/>
                  <a:gd name="T10" fmla="*/ 64 w 64"/>
                  <a:gd name="T11" fmla="*/ 30 h 30"/>
                  <a:gd name="T12" fmla="*/ 64 w 64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30">
                    <a:moveTo>
                      <a:pt x="64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7"/>
                      <a:pt x="0" y="1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24"/>
                      <a:pt x="5" y="30"/>
                      <a:pt x="11" y="30"/>
                    </a:cubicBezTo>
                    <a:cubicBezTo>
                      <a:pt x="64" y="30"/>
                      <a:pt x="64" y="30"/>
                      <a:pt x="64" y="30"/>
                    </a:cubicBez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srgbClr val="000000"/>
                  </a:solidFill>
                  <a:latin typeface="+mn-lt"/>
                </a:endParaRPr>
              </a:p>
            </p:txBody>
          </p:sp>
        </p:grpSp>
      </p:grpSp>
      <p:sp>
        <p:nvSpPr>
          <p:cNvPr id="193" name="Oval 192"/>
          <p:cNvSpPr>
            <a:spLocks/>
          </p:cNvSpPr>
          <p:nvPr/>
        </p:nvSpPr>
        <p:spPr>
          <a:xfrm>
            <a:off x="1569339" y="4977919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195" name="Rectangle 194"/>
          <p:cNvSpPr>
            <a:spLocks/>
          </p:cNvSpPr>
          <p:nvPr/>
        </p:nvSpPr>
        <p:spPr>
          <a:xfrm>
            <a:off x="1838536" y="5006495"/>
            <a:ext cx="3205848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-driving functionality accelerates sharing </a:t>
            </a:r>
          </a:p>
        </p:txBody>
      </p:sp>
      <p:sp>
        <p:nvSpPr>
          <p:cNvPr id="196" name="Oval 195"/>
          <p:cNvSpPr>
            <a:spLocks/>
          </p:cNvSpPr>
          <p:nvPr/>
        </p:nvSpPr>
        <p:spPr>
          <a:xfrm>
            <a:off x="1569339" y="5457609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3</a:t>
            </a:r>
          </a:p>
        </p:txBody>
      </p:sp>
      <p:sp>
        <p:nvSpPr>
          <p:cNvPr id="260" name="Rectangle 259"/>
          <p:cNvSpPr>
            <a:spLocks/>
          </p:cNvSpPr>
          <p:nvPr/>
        </p:nvSpPr>
        <p:spPr>
          <a:xfrm>
            <a:off x="1838536" y="5486184"/>
            <a:ext cx="3205848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-driving electric vehicles offer lower </a:t>
            </a:r>
            <a:r>
              <a:rPr lang="en-US" sz="140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CO</a:t>
            </a:r>
            <a:endParaRPr lang="en-US" sz="14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1" name="Oval 260"/>
          <p:cNvSpPr>
            <a:spLocks/>
          </p:cNvSpPr>
          <p:nvPr/>
        </p:nvSpPr>
        <p:spPr>
          <a:xfrm>
            <a:off x="1569339" y="6112735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4</a:t>
            </a:r>
          </a:p>
        </p:txBody>
      </p:sp>
      <p:sp>
        <p:nvSpPr>
          <p:cNvPr id="262" name="Rectangle 261"/>
          <p:cNvSpPr>
            <a:spLocks/>
          </p:cNvSpPr>
          <p:nvPr/>
        </p:nvSpPr>
        <p:spPr>
          <a:xfrm>
            <a:off x="1838536" y="6103433"/>
            <a:ext cx="3205848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GB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 uptake in shared mobility reduces public transit</a:t>
            </a:r>
          </a:p>
        </p:txBody>
      </p:sp>
      <p:sp>
        <p:nvSpPr>
          <p:cNvPr id="263" name="Oval 262"/>
          <p:cNvSpPr>
            <a:spLocks/>
          </p:cNvSpPr>
          <p:nvPr/>
        </p:nvSpPr>
        <p:spPr>
          <a:xfrm>
            <a:off x="5144686" y="4322796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5</a:t>
            </a:r>
          </a:p>
        </p:txBody>
      </p:sp>
      <p:sp>
        <p:nvSpPr>
          <p:cNvPr id="264" name="Rectangle 263"/>
          <p:cNvSpPr>
            <a:spLocks/>
          </p:cNvSpPr>
          <p:nvPr/>
        </p:nvSpPr>
        <p:spPr>
          <a:xfrm>
            <a:off x="5420822" y="4351372"/>
            <a:ext cx="2908021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lectric vehicles at scale accelerate battery cost reductions</a:t>
            </a:r>
          </a:p>
        </p:txBody>
      </p:sp>
      <p:sp>
        <p:nvSpPr>
          <p:cNvPr id="265" name="Oval 264"/>
          <p:cNvSpPr>
            <a:spLocks/>
          </p:cNvSpPr>
          <p:nvPr/>
        </p:nvSpPr>
        <p:spPr>
          <a:xfrm>
            <a:off x="5144686" y="4829538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6</a:t>
            </a:r>
          </a:p>
        </p:txBody>
      </p:sp>
      <p:sp>
        <p:nvSpPr>
          <p:cNvPr id="266" name="Rectangle 265"/>
          <p:cNvSpPr>
            <a:spLocks/>
          </p:cNvSpPr>
          <p:nvPr/>
        </p:nvSpPr>
        <p:spPr>
          <a:xfrm>
            <a:off x="5420822" y="4858113"/>
            <a:ext cx="2908021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-driving electric vehicles have advantaged infrastructure</a:t>
            </a:r>
          </a:p>
        </p:txBody>
      </p:sp>
      <p:sp>
        <p:nvSpPr>
          <p:cNvPr id="267" name="Oval 266"/>
          <p:cNvSpPr>
            <a:spLocks/>
          </p:cNvSpPr>
          <p:nvPr/>
        </p:nvSpPr>
        <p:spPr>
          <a:xfrm>
            <a:off x="5144686" y="5511713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7</a:t>
            </a:r>
          </a:p>
        </p:txBody>
      </p:sp>
      <p:sp>
        <p:nvSpPr>
          <p:cNvPr id="268" name="Rectangle 267"/>
          <p:cNvSpPr>
            <a:spLocks/>
          </p:cNvSpPr>
          <p:nvPr/>
        </p:nvSpPr>
        <p:spPr>
          <a:xfrm>
            <a:off x="5420822" y="5458870"/>
            <a:ext cx="2908021" cy="61401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creasing renewable penetration generation make electric vehicles more attractive  </a:t>
            </a:r>
          </a:p>
        </p:txBody>
      </p:sp>
      <p:sp>
        <p:nvSpPr>
          <p:cNvPr id="269" name="Oval 268"/>
          <p:cNvSpPr>
            <a:spLocks/>
          </p:cNvSpPr>
          <p:nvPr/>
        </p:nvSpPr>
        <p:spPr>
          <a:xfrm>
            <a:off x="1569339" y="4322796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  <p:sp>
        <p:nvSpPr>
          <p:cNvPr id="270" name="Rectangle 269"/>
          <p:cNvSpPr>
            <a:spLocks/>
          </p:cNvSpPr>
          <p:nvPr/>
        </p:nvSpPr>
        <p:spPr>
          <a:xfrm>
            <a:off x="1838536" y="4351371"/>
            <a:ext cx="3205848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solidFill>
                  <a:srgbClr val="00000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Increasing shared mobility increases utilization, accelerating electrification, </a:t>
            </a:r>
            <a:endParaRPr lang="en-US" sz="1400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71" name="Oval 270"/>
          <p:cNvSpPr>
            <a:spLocks/>
          </p:cNvSpPr>
          <p:nvPr/>
        </p:nvSpPr>
        <p:spPr>
          <a:xfrm>
            <a:off x="5144686" y="6149979"/>
            <a:ext cx="219456" cy="219456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</a:rPr>
              <a:t>8</a:t>
            </a:r>
          </a:p>
        </p:txBody>
      </p:sp>
      <p:sp>
        <p:nvSpPr>
          <p:cNvPr id="272" name="Rectangle 271"/>
          <p:cNvSpPr>
            <a:spLocks/>
          </p:cNvSpPr>
          <p:nvPr/>
        </p:nvSpPr>
        <p:spPr>
          <a:xfrm>
            <a:off x="5420822" y="6178555"/>
            <a:ext cx="2908021" cy="4093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lnSpc>
                <a:spcPct val="95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-driving vehicles accelerate the uptake of </a:t>
            </a:r>
            <a:r>
              <a:rPr lang="en-US" sz="1400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oT</a:t>
            </a:r>
            <a:r>
              <a:rPr lang="en-US" sz="1400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pplications</a:t>
            </a:r>
          </a:p>
        </p:txBody>
      </p:sp>
      <p:cxnSp>
        <p:nvCxnSpPr>
          <p:cNvPr id="283" name="Straight Connector 282"/>
          <p:cNvCxnSpPr>
            <a:cxnSpLocks/>
          </p:cNvCxnSpPr>
          <p:nvPr/>
        </p:nvCxnSpPr>
        <p:spPr>
          <a:xfrm>
            <a:off x="5082715" y="4322796"/>
            <a:ext cx="0" cy="207510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75047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86" name="think-cell Slide" r:id="rId35" imgW="629" imgH="631" progId="TCLayout.ActiveDocument.1">
                  <p:embed/>
                </p:oleObj>
              </mc:Choice>
              <mc:Fallback>
                <p:oleObj name="think-cell Slide" r:id="rId35" imgW="629" imgH="631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230189"/>
            <a:ext cx="10969498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At this point global liquid demand is expected to peak, driven by electrification of the transport sector</a:t>
            </a:r>
          </a:p>
        </p:txBody>
      </p:sp>
      <p:sp>
        <p:nvSpPr>
          <p:cNvPr id="89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838825" y="1831147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GB" altLang="en-US" dirty="0">
                <a:solidFill>
                  <a:srgbClr val="000000"/>
                </a:solidFill>
              </a:rPr>
              <a:t>108</a:t>
            </a:r>
            <a:endParaRPr lang="en-GB" dirty="0">
              <a:solidFill>
                <a:srgbClr val="000000"/>
              </a:solidFill>
              <a:sym typeface="+mn-lt"/>
            </a:endParaRPr>
          </a:p>
        </p:txBody>
      </p: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495300" y="1943100"/>
          <a:ext cx="8124744" cy="4095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087" name="Chart" r:id="rId37" imgW="8121707" imgH="4095881" progId="MSGraph.Chart.8">
                  <p:embed followColorScheme="full"/>
                </p:oleObj>
              </mc:Choice>
              <mc:Fallback>
                <p:oleObj name="Chart" r:id="rId37" imgW="8121707" imgH="4095881" progId="MSGraph.Chart.8">
                  <p:embed followColorScheme="full"/>
                  <p:pic>
                    <p:nvPicPr>
                      <p:cNvPr id="17" name="Object 16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495300" y="1943100"/>
                        <a:ext cx="8124744" cy="4095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5965" name="Straight Connector 125964"/>
          <p:cNvCxnSpPr/>
          <p:nvPr>
            <p:custDataLst>
              <p:tags r:id="rId6"/>
            </p:custDataLst>
          </p:nvPr>
        </p:nvCxnSpPr>
        <p:spPr bwMode="gray">
          <a:xfrm>
            <a:off x="6181725" y="1444625"/>
            <a:ext cx="2333625" cy="104775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>
            <p:custDataLst>
              <p:tags r:id="rId7"/>
            </p:custDataLst>
          </p:nvPr>
        </p:nvCxnSpPr>
        <p:spPr bwMode="gray">
          <a:xfrm flipV="1">
            <a:off x="590551" y="1482725"/>
            <a:ext cx="3267075" cy="36195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8"/>
            </p:custDataLst>
          </p:nvPr>
        </p:nvCxnSpPr>
        <p:spPr bwMode="gray">
          <a:xfrm flipV="1">
            <a:off x="3857625" y="1444625"/>
            <a:ext cx="2324100" cy="3810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34238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ADBFC406-BAD6-46B7-B8D4-DAF72A8436B3}" type="datetime'''''''''''''''''''''''''''''''''''''''''''''''''''''''''45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45</a:t>
            </a:fld>
            <a:endParaRPr lang="en-GB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62663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6A929805-8BC0-4BE4-894A-B19D7481A0C7}" type="datetime'''''''''''''''4''''''''''''''''''''''''''''''0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40</a:t>
            </a:fld>
            <a:endParaRPr lang="en-GB" dirty="0"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682038" y="5187950"/>
            <a:ext cx="18018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0820A0A-A27B-4E61-B939-28C603D7F073}" type="datetime'  ''  '' '' '''''' '''' ''Ro''a''''d t''ra''n''s''p''''or''t'">
              <a:rPr lang="en-US" altLang="en-US" sz="1600">
                <a:solidFill>
                  <a:schemeClr val="accent6"/>
                </a:solidFill>
              </a:rPr>
              <a:pPr>
                <a:buClr>
                  <a:srgbClr val="002960"/>
                </a:buClr>
              </a:pPr>
              <a:t>        Road transport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0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03725" y="1308100"/>
            <a:ext cx="1233488" cy="311150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GB" altLang="en-US" b="1" dirty="0">
                <a:solidFill>
                  <a:schemeClr val="bg1"/>
                </a:solidFill>
              </a:rPr>
              <a:t>0.1%</a:t>
            </a:r>
            <a:r>
              <a:rPr lang="en-GB" b="1" dirty="0">
                <a:solidFill>
                  <a:schemeClr val="bg1"/>
                </a:solidFill>
                <a:sym typeface="+mn-lt"/>
              </a:rPr>
              <a:t> p.a.</a:t>
            </a:r>
          </a:p>
        </p:txBody>
      </p:sp>
      <p:sp>
        <p:nvSpPr>
          <p:cNvPr id="93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159625" y="1844675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AB9EAC32-4E1B-483A-BD59-22FE3E3178EF}" type="datetime'''1''''''''''''''''''0''7''''''''''''''''''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7</a:t>
            </a:fld>
            <a:endParaRPr lang="en-GB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826000" y="1797050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6F4CF56C-D54F-460D-9EFE-4931414664F9}" type="datetime'''''1''0''8''''''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8</a:t>
            </a:fld>
            <a:endParaRPr lang="en-GB" dirty="0">
              <a:sym typeface="+mn-lt"/>
            </a:endParaRPr>
          </a:p>
        </p:txBody>
      </p:sp>
      <p:sp>
        <p:nvSpPr>
          <p:cNvPr id="9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663950" y="1844675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6E08F16B-F398-4A9D-8480-36D506A6F6E9}" type="datetime'''''''''''''''''1''''''''''''''''''''''''''''''''''07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7</a:t>
            </a:fld>
            <a:endParaRPr lang="en-GB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566988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654C4582-7180-4C81-98E7-E7B52493ACEC}" type="datetime'''''2''5''''''''''''''''''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25</a:t>
            </a:fld>
            <a:endParaRPr lang="en-GB" dirty="0"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82038" y="4281488"/>
            <a:ext cx="1827213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2960"/>
              </a:buClr>
            </a:pPr>
            <a:fld id="{D49D9DBA-D665-436F-978D-2395BD2B283D}" type="datetime' ''''  '' '' ''   O''t''her tra''''''''''n''s''''port'">
              <a:rPr lang="en-US" altLang="en-US" sz="1600">
                <a:solidFill>
                  <a:schemeClr val="accent6"/>
                </a:solidFill>
              </a:rPr>
              <a:pPr>
                <a:lnSpc>
                  <a:spcPct val="90000"/>
                </a:lnSpc>
                <a:buClr>
                  <a:srgbClr val="002960"/>
                </a:buClr>
              </a:pPr>
              <a:t>        Other transport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82038" y="2928938"/>
            <a:ext cx="10318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148F3CC-C37E-4F1E-A7BE-0EF891DD047D}" type="datetime''''''' '''''' ''''  '' ''''''''   ''''''''''P''o''''wer'">
              <a:rPr lang="en-US" altLang="en-US" sz="1600">
                <a:solidFill>
                  <a:schemeClr val="accent6"/>
                </a:solidFill>
              </a:rPr>
              <a:pPr>
                <a:buClr>
                  <a:srgbClr val="002960"/>
                </a:buClr>
              </a:pPr>
              <a:t>        Power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682038" y="2487613"/>
            <a:ext cx="1403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A4D6D1D-BF66-4C9C-818A-96F39DE6B3F0}" type="datetime'''  '' '' '' '''' ''  Che''''m''''''''ic''''a''l''s'''">
              <a:rPr lang="en-US" altLang="en-US" sz="1600">
                <a:solidFill>
                  <a:schemeClr val="accent6"/>
                </a:solidFill>
              </a:rPr>
              <a:pPr>
                <a:buClr>
                  <a:srgbClr val="002960"/>
                </a:buClr>
              </a:pPr>
              <a:t>        Chemicals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00613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EAB5883B-A7BC-4A44-9685-2A24F75BE226}" type="datetime'''''''''''''''''3''''''''''''''''5''''''''''''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35</a:t>
            </a:fld>
            <a:endParaRPr lang="en-GB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38563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2FDE31D0-6E66-4244-A5C0-D41B966835E3}" type="datetime'''''''3''''''''''''''0''''''''''''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30</a:t>
            </a:fld>
            <a:endParaRPr lang="en-GB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492375" y="1920875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08A68C6C-0E0A-4425-A0B1-E228C3322240}" type="datetime'''''''''''''''''''''''''''''''1''''05''''''''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5</a:t>
            </a:fld>
            <a:endParaRPr lang="en-GB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683375" y="1341438"/>
            <a:ext cx="1330325" cy="311150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  <a:ex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GB" altLang="en-US" b="1" dirty="0">
                <a:solidFill>
                  <a:schemeClr val="bg1"/>
                </a:solidFill>
              </a:rPr>
              <a:t>-0.3% </a:t>
            </a:r>
            <a:r>
              <a:rPr lang="en-GB" b="1" dirty="0">
                <a:solidFill>
                  <a:schemeClr val="bg1"/>
                </a:solidFill>
                <a:sym typeface="+mn-lt"/>
              </a:rPr>
              <a:t>p.a.</a:t>
            </a: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682038" y="3224213"/>
            <a:ext cx="1277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C982D89-2523-4956-A784-7EB3DC1B589C}" type="datetime' '''''''' ''      ''Bu''''i''l''''''''d''''''i''''''ng''''s'''">
              <a:rPr lang="en-US" altLang="en-US" sz="1600">
                <a:solidFill>
                  <a:schemeClr val="accent6"/>
                </a:solidFill>
              </a:rPr>
              <a:pPr>
                <a:buClr>
                  <a:srgbClr val="002960"/>
                </a:buClr>
              </a:pPr>
              <a:t>        Buildings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608138" y="1508125"/>
            <a:ext cx="1233488" cy="311150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GB" altLang="en-US" b="1" dirty="0">
                <a:solidFill>
                  <a:schemeClr val="bg1"/>
                </a:solidFill>
              </a:rPr>
              <a:t>0.7%</a:t>
            </a:r>
            <a:r>
              <a:rPr lang="en-GB" b="1" dirty="0">
                <a:solidFill>
                  <a:schemeClr val="bg1"/>
                </a:solidFill>
                <a:sym typeface="+mn-lt"/>
              </a:rPr>
              <a:t> p.a.</a:t>
            </a: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682038" y="3667125"/>
            <a:ext cx="2751138" cy="2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  <a:buClr>
                <a:srgbClr val="002960"/>
              </a:buClr>
            </a:pPr>
            <a:fld id="{47F1506C-F772-4827-B1D0-1A8ADFD1BCAD}" type="datetime''' ''  ''  '' '' '''' Ind''us''t''r''y (excl. c''hemica''ls)'">
              <a:rPr lang="en-US" altLang="en-US" sz="1600">
                <a:solidFill>
                  <a:schemeClr val="accent6"/>
                </a:solidFill>
              </a:rPr>
              <a:pPr>
                <a:lnSpc>
                  <a:spcPct val="90000"/>
                </a:lnSpc>
                <a:buClr>
                  <a:srgbClr val="002960"/>
                </a:buClr>
              </a:pPr>
              <a:t>        Industry (excl. chemicals)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283575" y="604361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95BE4D08-D295-4960-88A7-E8D6CEE2A45E}" type="datetime'''''2''''''''''''''0''''5''''''''''''''0''''''''''''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2050</a:t>
            </a:fld>
            <a:endParaRPr lang="en-GB" dirty="0"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321675" y="1911350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B97444C8-5868-4FF6-A999-88467485F85B}" type="datetime'''''''''1''''''''''''''''''''''''''''''''''0''''''''5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5</a:t>
            </a:fld>
            <a:endParaRPr lang="en-GB" dirty="0"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330325" y="2054225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13E300BC-2477-4BED-BB41-DBF9B6AF98E6}" type="datetime'''''''1''''''''''0''''''''''''''''''''''''''''''''1''''''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1</a:t>
            </a:fld>
            <a:endParaRPr lang="en-GB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04938" y="604361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0428611E-43D3-4F59-A676-3BAC25C6A641}" type="datetime'''''''''''''''''''''''''''''2''0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20</a:t>
            </a:fld>
            <a:endParaRPr lang="en-GB" dirty="0"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8775" y="604361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8928E848-0C12-4A39-9927-23BF1BE65BDB}" type="datetime'''''''''2''''''''''''''0''''''''1''''''''6'''''''''''''''">
              <a:rPr lang="en-GB" altLang="en-US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2016</a:t>
            </a:fld>
            <a:endParaRPr lang="en-GB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2438" y="2206625"/>
            <a:ext cx="2762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4B2CBE82-391F-472E-A3DF-D8F9F0019156}" type="datetime'''''''''''''''''''9''''''7'''''">
              <a:rPr lang="en-GB" altLang="en-US"/>
              <a:pPr algn="ctr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97</a:t>
            </a:fld>
            <a:endParaRPr lang="en-GB" dirty="0">
              <a:sym typeface="+mn-lt"/>
            </a:endParaRPr>
          </a:p>
        </p:txBody>
      </p:sp>
      <p:cxnSp>
        <p:nvCxnSpPr>
          <p:cNvPr id="131" name="Straight Connector 130"/>
          <p:cNvCxnSpPr/>
          <p:nvPr/>
        </p:nvCxnSpPr>
        <p:spPr>
          <a:xfrm>
            <a:off x="3375468" y="4287838"/>
            <a:ext cx="0" cy="1647507"/>
          </a:xfrm>
          <a:prstGeom prst="line">
            <a:avLst/>
          </a:prstGeom>
          <a:ln w="25400">
            <a:solidFill>
              <a:schemeClr val="bg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5. Source"/>
          <p:cNvSpPr>
            <a:spLocks noChangeArrowheads="1"/>
          </p:cNvSpPr>
          <p:nvPr/>
        </p:nvSpPr>
        <p:spPr bwMode="gray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GB" sz="800" dirty="0">
                <a:solidFill>
                  <a:schemeClr val="accent6"/>
                </a:solidFill>
                <a:latin typeface="+mn-lt"/>
              </a:rPr>
              <a:t>SOURCE: McKinsey Energy Insights’ Global Energy Perspective, July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3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089" y="4186286"/>
            <a:ext cx="419269" cy="39803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4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3089" y="3607995"/>
            <a:ext cx="419269" cy="388262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4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7298" y="2417671"/>
            <a:ext cx="419269" cy="401614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4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9141" y="3134910"/>
            <a:ext cx="419269" cy="394506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4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2211" y="5229224"/>
            <a:ext cx="419269" cy="397993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4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8836" y="2896312"/>
            <a:ext cx="419269" cy="398058"/>
          </a:xfrm>
          <a:prstGeom prst="rect">
            <a:avLst/>
          </a:prstGeom>
        </p:spPr>
      </p:pic>
      <p:sp>
        <p:nvSpPr>
          <p:cNvPr id="79" name="3. Unit of measure"/>
          <p:cNvSpPr txBox="1">
            <a:spLocks noChangeArrowheads="1"/>
          </p:cNvSpPr>
          <p:nvPr/>
        </p:nvSpPr>
        <p:spPr bwMode="gray">
          <a:xfrm>
            <a:off x="475489" y="1030802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2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Global oil demand, Million barrels per day</a:t>
            </a:r>
          </a:p>
        </p:txBody>
      </p:sp>
      <p:sp>
        <p:nvSpPr>
          <p:cNvPr id="51" name="Oval 50"/>
          <p:cNvSpPr/>
          <p:nvPr/>
        </p:nvSpPr>
        <p:spPr>
          <a:xfrm>
            <a:off x="1927226" y="2301752"/>
            <a:ext cx="914400" cy="302675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fld id="{DED04624-9115-4DB7-8A7E-81CD29ADF73A}" type="datetime'''''2.''''''''''''''''''''''''''''''4''''''''''''''''''%'''''">
              <a:rPr lang="en-GB" altLang="en-US" sz="1300" b="1">
                <a:solidFill>
                  <a:schemeClr val="bg1"/>
                </a:solidFill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.4%</a:t>
            </a:fld>
            <a:r>
              <a:rPr lang="en-GB" sz="1300" b="1" dirty="0">
                <a:solidFill>
                  <a:schemeClr val="bg1"/>
                </a:solidFill>
                <a:sym typeface="+mn-lt"/>
              </a:rPr>
              <a:t> p.a.</a:t>
            </a:r>
          </a:p>
        </p:txBody>
      </p:sp>
      <p:sp>
        <p:nvSpPr>
          <p:cNvPr id="52" name="Oval 51"/>
          <p:cNvSpPr/>
          <p:nvPr/>
        </p:nvSpPr>
        <p:spPr>
          <a:xfrm>
            <a:off x="4218042" y="2270613"/>
            <a:ext cx="914400" cy="302675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GB" altLang="en-US" sz="1300" b="1" dirty="0">
                <a:solidFill>
                  <a:schemeClr val="bg1"/>
                </a:solidFill>
              </a:rPr>
              <a:t>1.7% p.a.</a:t>
            </a:r>
          </a:p>
        </p:txBody>
      </p:sp>
      <p:sp>
        <p:nvSpPr>
          <p:cNvPr id="53" name="Oval 52"/>
          <p:cNvSpPr/>
          <p:nvPr/>
        </p:nvSpPr>
        <p:spPr>
          <a:xfrm>
            <a:off x="6706959" y="2433375"/>
            <a:ext cx="914400" cy="302675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GB" altLang="en-US" sz="1300" b="1" dirty="0">
                <a:solidFill>
                  <a:schemeClr val="bg1"/>
                </a:solidFill>
              </a:rPr>
              <a:t>1.4% p.a.</a:t>
            </a:r>
          </a:p>
        </p:txBody>
      </p:sp>
      <p:sp>
        <p:nvSpPr>
          <p:cNvPr id="54" name="Oval 53"/>
          <p:cNvSpPr/>
          <p:nvPr/>
        </p:nvSpPr>
        <p:spPr>
          <a:xfrm>
            <a:off x="1685398" y="5114027"/>
            <a:ext cx="914400" cy="30267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GB" altLang="en-US" sz="1300" b="1" dirty="0">
                <a:solidFill>
                  <a:schemeClr val="bg1"/>
                </a:solidFill>
              </a:rPr>
              <a:t>0.5% p.a.</a:t>
            </a:r>
          </a:p>
        </p:txBody>
      </p:sp>
      <p:sp>
        <p:nvSpPr>
          <p:cNvPr id="56" name="Oval 55"/>
          <p:cNvSpPr/>
          <p:nvPr/>
        </p:nvSpPr>
        <p:spPr>
          <a:xfrm>
            <a:off x="4218042" y="4953659"/>
            <a:ext cx="914400" cy="30267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GB" altLang="en-US" sz="1300" b="1" dirty="0">
                <a:solidFill>
                  <a:schemeClr val="bg1"/>
                </a:solidFill>
              </a:rPr>
              <a:t>-0.9% p.a.</a:t>
            </a:r>
          </a:p>
        </p:txBody>
      </p:sp>
      <p:sp>
        <p:nvSpPr>
          <p:cNvPr id="57" name="Oval 56"/>
          <p:cNvSpPr/>
          <p:nvPr/>
        </p:nvSpPr>
        <p:spPr>
          <a:xfrm>
            <a:off x="6706959" y="5140194"/>
            <a:ext cx="914400" cy="302675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GB" altLang="en-US" sz="1300" b="1" dirty="0">
                <a:solidFill>
                  <a:schemeClr val="bg1"/>
                </a:solidFill>
              </a:rPr>
              <a:t>-2.1% p.a.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3853568" y="2651706"/>
            <a:ext cx="2316051" cy="3273283"/>
            <a:chOff x="4219575" y="1952625"/>
            <a:chExt cx="2729593" cy="3960495"/>
          </a:xfrm>
        </p:grpSpPr>
        <p:cxnSp>
          <p:nvCxnSpPr>
            <p:cNvPr id="60" name="Straight Connector 59"/>
            <p:cNvCxnSpPr/>
            <p:nvPr/>
          </p:nvCxnSpPr>
          <p:spPr>
            <a:xfrm>
              <a:off x="4219575" y="1952625"/>
              <a:ext cx="0" cy="3960495"/>
            </a:xfrm>
            <a:prstGeom prst="line">
              <a:avLst/>
            </a:prstGeom>
            <a:ln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6949168" y="1952625"/>
              <a:ext cx="0" cy="3960495"/>
            </a:xfrm>
            <a:prstGeom prst="line">
              <a:avLst/>
            </a:prstGeom>
            <a:ln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/>
          <p:cNvGrpSpPr/>
          <p:nvPr/>
        </p:nvGrpSpPr>
        <p:grpSpPr>
          <a:xfrm>
            <a:off x="3853568" y="2123244"/>
            <a:ext cx="2316051" cy="266787"/>
            <a:chOff x="4219575" y="667422"/>
            <a:chExt cx="2729593" cy="3960495"/>
          </a:xfrm>
        </p:grpSpPr>
        <p:cxnSp>
          <p:nvCxnSpPr>
            <p:cNvPr id="63" name="Straight Connector 62"/>
            <p:cNvCxnSpPr/>
            <p:nvPr/>
          </p:nvCxnSpPr>
          <p:spPr>
            <a:xfrm>
              <a:off x="4219575" y="667422"/>
              <a:ext cx="0" cy="3960495"/>
            </a:xfrm>
            <a:prstGeom prst="line">
              <a:avLst/>
            </a:prstGeom>
            <a:ln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6949168" y="667422"/>
              <a:ext cx="0" cy="3960495"/>
            </a:xfrm>
            <a:prstGeom prst="line">
              <a:avLst/>
            </a:prstGeom>
            <a:ln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2" name="Straight Connector 131"/>
          <p:cNvCxnSpPr/>
          <p:nvPr/>
        </p:nvCxnSpPr>
        <p:spPr>
          <a:xfrm>
            <a:off x="5489853" y="2095500"/>
            <a:ext cx="0" cy="3839845"/>
          </a:xfrm>
          <a:prstGeom prst="line">
            <a:avLst/>
          </a:prstGeom>
          <a:ln w="25400">
            <a:solidFill>
              <a:schemeClr val="bg1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sosceles Triangle 2"/>
          <p:cNvSpPr/>
          <p:nvPr/>
        </p:nvSpPr>
        <p:spPr>
          <a:xfrm>
            <a:off x="3290176" y="6032326"/>
            <a:ext cx="159205" cy="137246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65" name="Isosceles Triangle 64"/>
          <p:cNvSpPr/>
          <p:nvPr/>
        </p:nvSpPr>
        <p:spPr>
          <a:xfrm>
            <a:off x="5410250" y="6032326"/>
            <a:ext cx="159205" cy="137246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70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5359" y="84149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8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615359" y="841490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0" name="Oval 239"/>
          <p:cNvSpPr/>
          <p:nvPr/>
        </p:nvSpPr>
        <p:spPr>
          <a:xfrm>
            <a:off x="4252913" y="1501862"/>
            <a:ext cx="288738" cy="288738"/>
          </a:xfrm>
          <a:prstGeom prst="ellipse">
            <a:avLst/>
          </a:prstGeom>
          <a:gradFill flip="none" rotWithShape="1">
            <a:gsLst>
              <a:gs pos="1000">
                <a:schemeClr val="bg1"/>
              </a:gs>
              <a:gs pos="100000">
                <a:schemeClr val="accent2">
                  <a:lumMod val="40000"/>
                  <a:lumOff val="60000"/>
                </a:schemeClr>
              </a:gs>
            </a:gsLst>
            <a:path path="circle">
              <a:fillToRect l="50000" t="50000" r="50000" b="50000"/>
            </a:path>
            <a:tileRect/>
          </a:gra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aphicFrame>
        <p:nvGraphicFramePr>
          <p:cNvPr id="197" name="Object 196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723900" y="1066800"/>
          <a:ext cx="3781521" cy="4638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9" name="Chart" r:id="rId44" imgW="3778209" imgH="4635588" progId="MSGraph.Chart.8">
                  <p:embed followColorScheme="full"/>
                </p:oleObj>
              </mc:Choice>
              <mc:Fallback>
                <p:oleObj name="Chart" r:id="rId44" imgW="3778209" imgH="4635588" progId="MSGraph.Chart.8">
                  <p:embed followColorScheme="full"/>
                  <p:pic>
                    <p:nvPicPr>
                      <p:cNvPr id="197" name="Object 196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723900" y="1066800"/>
                        <a:ext cx="3781521" cy="46386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42913" y="274320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7779E77C-FB22-4A00-9957-9784C4AC4962}" type="datetime'''1''''''''''''''''''''''''0''''4'''''''''''''''''''''">
              <a:rPr lang="en-GB" altLang="en-US" sz="1400">
                <a:solidFill>
                  <a:schemeClr val="accent6"/>
                </a:solidFill>
              </a:rPr>
              <a:pPr/>
              <a:t>104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42913" y="384810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8742A69F-E9C7-4774-B65B-E35F0894EAFD}" type="datetime'''''''''''''''''''''''''''''''''''1''''''''''''''0''0'''">
              <a:rPr lang="en-GB" altLang="en-US" sz="1400">
                <a:solidFill>
                  <a:schemeClr val="accent6"/>
                </a:solidFill>
              </a:rPr>
              <a:pPr/>
              <a:t>100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9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55613" y="1085850"/>
            <a:ext cx="2825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AE6E537-FADE-4939-9B37-C85D7E96118D}" type="datetime'''''''''''1''''''''1''''''0'">
              <a:rPr lang="en-US" altLang="en-US" sz="1400">
                <a:solidFill>
                  <a:schemeClr val="accent6"/>
                </a:solidFill>
              </a:rPr>
              <a:pPr/>
              <a:t>110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42913" y="163830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8586BFE-DAC9-4BC4-B9E0-49D3B1A16CAB}" type="datetime'''''''1''''''''''''''''0''''''''''''''''''''''8'''''''">
              <a:rPr lang="en-GB" altLang="en-US" sz="1400">
                <a:solidFill>
                  <a:schemeClr val="accent6"/>
                </a:solidFill>
              </a:rPr>
              <a:pPr/>
              <a:t>108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42913" y="219075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EE83FA9A-9396-4812-B12C-7359C41808FA}" type="datetime'''''''''''''''''''1''''''0''6'''''''''''''''''''''''''''''">
              <a:rPr lang="en-GB" altLang="en-US" sz="1400">
                <a:solidFill>
                  <a:schemeClr val="accent6"/>
                </a:solidFill>
              </a:rPr>
              <a:pPr/>
              <a:t>106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42913" y="3295650"/>
            <a:ext cx="295275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126E5040-0E3A-4A78-A0B8-70DEE51CAA41}" type="datetime'''''''''''''''''''''1''''''0''''''2'''''''''''''''''">
              <a:rPr lang="en-GB" altLang="en-US" sz="1400">
                <a:solidFill>
                  <a:schemeClr val="accent6"/>
                </a:solidFill>
              </a:rPr>
              <a:pPr/>
              <a:t>102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41338" y="4953000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BB2F35C-520E-448E-A868-4B8780A984B0}" type="datetime'''''''''''''''9''6'''''''''''''''''''''">
              <a:rPr lang="en-GB" altLang="en-US" sz="1400">
                <a:solidFill>
                  <a:schemeClr val="accent6"/>
                </a:solidFill>
              </a:rPr>
              <a:pPr/>
              <a:t>96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1338" y="4400550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F5CBCC93-F1C9-46E5-91CD-8CF1F8EABDA3}" type="datetime'''''''''''''''''''''''''''''''''''''''''9''''''''''8'''">
              <a:rPr lang="en-GB" altLang="en-US" sz="1400">
                <a:solidFill>
                  <a:schemeClr val="accent6"/>
                </a:solidFill>
              </a:rPr>
              <a:pPr/>
              <a:t>98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0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41338" y="5505450"/>
            <a:ext cx="196850" cy="1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</a:pPr>
            <a:fld id="{B4567CE7-9754-4DE9-9C05-300159FCC9F9}" type="datetime'''''''''''''9''''''''''''''''''4'''''''''''''''''''''">
              <a:rPr lang="en-GB" altLang="en-US" sz="1400">
                <a:solidFill>
                  <a:schemeClr val="accent6"/>
                </a:solidFill>
              </a:rPr>
              <a:pPr/>
              <a:t>94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52875" y="57038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98D173C-77E3-49C5-B1E7-8E235CF78141}" type="datetime'''''''''''''''''''''''''''''''''3''''''''''''''''5'''''''''">
              <a:rPr lang="en-GB" altLang="en-US" sz="1400">
                <a:solidFill>
                  <a:schemeClr val="accent6"/>
                </a:solidFill>
              </a:rPr>
              <a:pPr/>
              <a:t>35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105150" y="57038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75922B-F924-47DE-9B8E-516C9892965A}" type="datetime'''3''''''''''''''''''''''''''''''0'''''''''''''''''''">
              <a:rPr lang="en-GB" altLang="en-US" sz="1400">
                <a:solidFill>
                  <a:schemeClr val="accent6"/>
                </a:solidFill>
              </a:rPr>
              <a:pPr/>
              <a:t>30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00175" y="57038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88D831E-2203-405E-A51C-9D2DBB2F72DC}" type="datetime'2''''''''''''''''''''''''''0'''''''">
              <a:rPr lang="en-GB" altLang="en-US" sz="1400">
                <a:solidFill>
                  <a:schemeClr val="accent6"/>
                </a:solidFill>
              </a:rPr>
              <a:pPr/>
              <a:t>20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97350" y="57038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640CCF4-D3A1-4B06-B677-09A338EAF299}" type="datetime'2''''''''''''''''''''0''''''''''''''''''''''''''3''7'">
              <a:rPr lang="en-GB" altLang="en-US" sz="1400">
                <a:solidFill>
                  <a:schemeClr val="accent6"/>
                </a:solidFill>
              </a:rPr>
              <a:pPr/>
              <a:t>2037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247900" y="5703888"/>
            <a:ext cx="20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140D57A-CB1C-4F13-B7E5-2143BF4F52C0}" type="datetime'''''''2''''''5'''''">
              <a:rPr lang="en-GB" altLang="en-US" sz="1400">
                <a:solidFill>
                  <a:schemeClr val="accent6"/>
                </a:solidFill>
              </a:rPr>
              <a:pPr/>
              <a:t>25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1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15950" y="57038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69900C8-004B-4299-998F-3871B65A6C48}" type="datetime'''2''0''''''''''1''''''''''''''''''''6'">
              <a:rPr lang="en-GB" altLang="en-US" sz="1400">
                <a:solidFill>
                  <a:schemeClr val="accent6"/>
                </a:solidFill>
              </a:rPr>
              <a:pPr/>
              <a:t>2016</a:t>
            </a:fld>
            <a:endParaRPr lang="en-GB" sz="1400" dirty="0">
              <a:solidFill>
                <a:schemeClr val="accent6"/>
              </a:solidFill>
              <a:sym typeface="+mn-lt"/>
            </a:endParaRPr>
          </a:p>
        </p:txBody>
      </p:sp>
      <p:cxnSp>
        <p:nvCxnSpPr>
          <p:cNvPr id="25" name="Straight Connector 24"/>
          <p:cNvCxnSpPr>
            <a:stCxn id="63" idx="6"/>
            <a:endCxn id="20" idx="1"/>
          </p:cNvCxnSpPr>
          <p:nvPr/>
        </p:nvCxnSpPr>
        <p:spPr>
          <a:xfrm flipV="1">
            <a:off x="4999983" y="1995006"/>
            <a:ext cx="245117" cy="7049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>
            <a:stCxn id="749" idx="5"/>
            <a:endCxn id="177" idx="1"/>
          </p:cNvCxnSpPr>
          <p:nvPr/>
        </p:nvCxnSpPr>
        <p:spPr>
          <a:xfrm>
            <a:off x="4934982" y="2682123"/>
            <a:ext cx="310118" cy="45323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stCxn id="732" idx="5"/>
            <a:endCxn id="178" idx="1"/>
          </p:cNvCxnSpPr>
          <p:nvPr/>
        </p:nvCxnSpPr>
        <p:spPr>
          <a:xfrm>
            <a:off x="4934982" y="3384193"/>
            <a:ext cx="310118" cy="89151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>
            <a:stCxn id="735" idx="4"/>
            <a:endCxn id="179" idx="1"/>
          </p:cNvCxnSpPr>
          <p:nvPr/>
        </p:nvCxnSpPr>
        <p:spPr>
          <a:xfrm>
            <a:off x="4778054" y="4137025"/>
            <a:ext cx="467046" cy="127903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5245100" y="1492250"/>
            <a:ext cx="6155437" cy="10055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5245100" y="2632600"/>
            <a:ext cx="6155437" cy="10055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78" name="Rectangle 177"/>
          <p:cNvSpPr/>
          <p:nvPr/>
        </p:nvSpPr>
        <p:spPr>
          <a:xfrm>
            <a:off x="5245100" y="3772950"/>
            <a:ext cx="6155437" cy="10055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5245100" y="4913299"/>
            <a:ext cx="6155437" cy="100551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5488" y="230188"/>
            <a:ext cx="10969498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 oil, several additional disruptors could lead to an even earlier peak</a:t>
            </a:r>
          </a:p>
        </p:txBody>
      </p:sp>
      <p:grpSp>
        <p:nvGrpSpPr>
          <p:cNvPr id="193" name="Group 192"/>
          <p:cNvGrpSpPr/>
          <p:nvPr/>
        </p:nvGrpSpPr>
        <p:grpSpPr>
          <a:xfrm>
            <a:off x="4556125" y="1843567"/>
            <a:ext cx="443858" cy="443858"/>
            <a:chOff x="462222" y="1216222"/>
            <a:chExt cx="661958" cy="661958"/>
          </a:xfrm>
        </p:grpSpPr>
        <p:sp>
          <p:nvSpPr>
            <p:cNvPr id="63" name="Oval 62"/>
            <p:cNvSpPr txBox="1"/>
            <p:nvPr>
              <p:custDataLst>
                <p:tags r:id="rId39"/>
              </p:custDataLst>
            </p:nvPr>
          </p:nvSpPr>
          <p:spPr>
            <a:xfrm>
              <a:off x="462222" y="1216222"/>
              <a:ext cx="661958" cy="661958"/>
            </a:xfrm>
            <a:prstGeom prst="ellipse">
              <a:avLst/>
            </a:prstGeom>
            <a:solidFill>
              <a:schemeClr val="accent5"/>
            </a:solidFill>
            <a:ln w="15875">
              <a:noFill/>
            </a:ln>
          </p:spPr>
          <p:txBody>
            <a:bodyPr vert="horz" wrap="square" lIns="3810" tIns="0" rIns="3810" bIns="0" rtlCol="0" anchor="ctr" anchorCtr="1">
              <a:no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endParaRPr lang="en-GB" dirty="0"/>
            </a:p>
          </p:txBody>
        </p:sp>
        <p:sp>
          <p:nvSpPr>
            <p:cNvPr id="693" name="Freeform 29"/>
            <p:cNvSpPr>
              <a:spLocks noEditPoints="1"/>
            </p:cNvSpPr>
            <p:nvPr/>
          </p:nvSpPr>
          <p:spPr bwMode="auto">
            <a:xfrm>
              <a:off x="549624" y="1331225"/>
              <a:ext cx="465506" cy="454576"/>
            </a:xfrm>
            <a:custGeom>
              <a:avLst/>
              <a:gdLst>
                <a:gd name="T0" fmla="*/ 6403 w 10563"/>
                <a:gd name="T1" fmla="*/ 8837 h 10311"/>
                <a:gd name="T2" fmla="*/ 5720 w 10563"/>
                <a:gd name="T3" fmla="*/ 7866 h 10311"/>
                <a:gd name="T4" fmla="*/ 6589 w 10563"/>
                <a:gd name="T5" fmla="*/ 6617 h 10311"/>
                <a:gd name="T6" fmla="*/ 7426 w 10563"/>
                <a:gd name="T7" fmla="*/ 5460 h 10311"/>
                <a:gd name="T8" fmla="*/ 7449 w 10563"/>
                <a:gd name="T9" fmla="*/ 6597 h 10311"/>
                <a:gd name="T10" fmla="*/ 9556 w 10563"/>
                <a:gd name="T11" fmla="*/ 6650 h 10311"/>
                <a:gd name="T12" fmla="*/ 10558 w 10563"/>
                <a:gd name="T13" fmla="*/ 6274 h 10311"/>
                <a:gd name="T14" fmla="*/ 9480 w 10563"/>
                <a:gd name="T15" fmla="*/ 8220 h 10311"/>
                <a:gd name="T16" fmla="*/ 9098 w 10563"/>
                <a:gd name="T17" fmla="*/ 8788 h 10311"/>
                <a:gd name="T18" fmla="*/ 7709 w 10563"/>
                <a:gd name="T19" fmla="*/ 9129 h 10311"/>
                <a:gd name="T20" fmla="*/ 7481 w 10563"/>
                <a:gd name="T21" fmla="*/ 9721 h 10311"/>
                <a:gd name="T22" fmla="*/ 7159 w 10563"/>
                <a:gd name="T23" fmla="*/ 9881 h 10311"/>
                <a:gd name="T24" fmla="*/ 3243 w 10563"/>
                <a:gd name="T25" fmla="*/ 9130 h 10311"/>
                <a:gd name="T26" fmla="*/ 2473 w 10563"/>
                <a:gd name="T27" fmla="*/ 8524 h 10311"/>
                <a:gd name="T28" fmla="*/ 3047 w 10563"/>
                <a:gd name="T29" fmla="*/ 6844 h 10311"/>
                <a:gd name="T30" fmla="*/ 5218 w 10563"/>
                <a:gd name="T31" fmla="*/ 6869 h 10311"/>
                <a:gd name="T32" fmla="*/ 5315 w 10563"/>
                <a:gd name="T33" fmla="*/ 7817 h 10311"/>
                <a:gd name="T34" fmla="*/ 5382 w 10563"/>
                <a:gd name="T35" fmla="*/ 8537 h 10311"/>
                <a:gd name="T36" fmla="*/ 5109 w 10563"/>
                <a:gd name="T37" fmla="*/ 9143 h 10311"/>
                <a:gd name="T38" fmla="*/ 2148 w 10563"/>
                <a:gd name="T39" fmla="*/ 8594 h 10311"/>
                <a:gd name="T40" fmla="*/ 707 w 10563"/>
                <a:gd name="T41" fmla="*/ 6557 h 10311"/>
                <a:gd name="T42" fmla="*/ 962 w 10563"/>
                <a:gd name="T43" fmla="*/ 5035 h 10311"/>
                <a:gd name="T44" fmla="*/ 716 w 10563"/>
                <a:gd name="T45" fmla="*/ 4644 h 10311"/>
                <a:gd name="T46" fmla="*/ 263 w 10563"/>
                <a:gd name="T47" fmla="*/ 4251 h 10311"/>
                <a:gd name="T48" fmla="*/ 736 w 10563"/>
                <a:gd name="T49" fmla="*/ 4164 h 10311"/>
                <a:gd name="T50" fmla="*/ 2263 w 10563"/>
                <a:gd name="T51" fmla="*/ 3884 h 10311"/>
                <a:gd name="T52" fmla="*/ 2903 w 10563"/>
                <a:gd name="T53" fmla="*/ 3768 h 10311"/>
                <a:gd name="T54" fmla="*/ 3035 w 10563"/>
                <a:gd name="T55" fmla="*/ 3899 h 10311"/>
                <a:gd name="T56" fmla="*/ 4429 w 10563"/>
                <a:gd name="T57" fmla="*/ 6358 h 10311"/>
                <a:gd name="T58" fmla="*/ 3983 w 10563"/>
                <a:gd name="T59" fmla="*/ 6164 h 10311"/>
                <a:gd name="T60" fmla="*/ 3368 w 10563"/>
                <a:gd name="T61" fmla="*/ 5884 h 10311"/>
                <a:gd name="T62" fmla="*/ 2315 w 10563"/>
                <a:gd name="T63" fmla="*/ 8091 h 10311"/>
                <a:gd name="T64" fmla="*/ 2306 w 10563"/>
                <a:gd name="T65" fmla="*/ 8754 h 10311"/>
                <a:gd name="T66" fmla="*/ 2148 w 10563"/>
                <a:gd name="T67" fmla="*/ 8594 h 10311"/>
                <a:gd name="T68" fmla="*/ 8216 w 10563"/>
                <a:gd name="T69" fmla="*/ 6077 h 10311"/>
                <a:gd name="T70" fmla="*/ 7700 w 10563"/>
                <a:gd name="T71" fmla="*/ 4977 h 10311"/>
                <a:gd name="T72" fmla="*/ 7524 w 10563"/>
                <a:gd name="T73" fmla="*/ 4586 h 10311"/>
                <a:gd name="T74" fmla="*/ 9853 w 10563"/>
                <a:gd name="T75" fmla="*/ 4086 h 10311"/>
                <a:gd name="T76" fmla="*/ 10493 w 10563"/>
                <a:gd name="T77" fmla="*/ 5988 h 10311"/>
                <a:gd name="T78" fmla="*/ 8959 w 10563"/>
                <a:gd name="T79" fmla="*/ 6467 h 10311"/>
                <a:gd name="T80" fmla="*/ 8328 w 10563"/>
                <a:gd name="T81" fmla="*/ 6315 h 10311"/>
                <a:gd name="T82" fmla="*/ 3556 w 10563"/>
                <a:gd name="T83" fmla="*/ 3185 h 10311"/>
                <a:gd name="T84" fmla="*/ 2251 w 10563"/>
                <a:gd name="T85" fmla="*/ 2431 h 10311"/>
                <a:gd name="T86" fmla="*/ 2389 w 10563"/>
                <a:gd name="T87" fmla="*/ 2157 h 10311"/>
                <a:gd name="T88" fmla="*/ 4161 w 10563"/>
                <a:gd name="T89" fmla="*/ 204 h 10311"/>
                <a:gd name="T90" fmla="*/ 5070 w 10563"/>
                <a:gd name="T91" fmla="*/ 871 h 10311"/>
                <a:gd name="T92" fmla="*/ 4205 w 10563"/>
                <a:gd name="T93" fmla="*/ 3540 h 10311"/>
                <a:gd name="T94" fmla="*/ 8023 w 10563"/>
                <a:gd name="T95" fmla="*/ 3436 h 10311"/>
                <a:gd name="T96" fmla="*/ 7123 w 10563"/>
                <a:gd name="T97" fmla="*/ 3350 h 10311"/>
                <a:gd name="T98" fmla="*/ 6156 w 10563"/>
                <a:gd name="T99" fmla="*/ 3258 h 10311"/>
                <a:gd name="T100" fmla="*/ 5164 w 10563"/>
                <a:gd name="T101" fmla="*/ 3146 h 10311"/>
                <a:gd name="T102" fmla="*/ 5683 w 10563"/>
                <a:gd name="T103" fmla="*/ 2851 h 10311"/>
                <a:gd name="T104" fmla="*/ 6169 w 10563"/>
                <a:gd name="T105" fmla="*/ 2565 h 10311"/>
                <a:gd name="T106" fmla="*/ 4431 w 10563"/>
                <a:gd name="T107" fmla="*/ 45 h 10311"/>
                <a:gd name="T108" fmla="*/ 5789 w 10563"/>
                <a:gd name="T109" fmla="*/ 3 h 10311"/>
                <a:gd name="T110" fmla="*/ 7276 w 10563"/>
                <a:gd name="T111" fmla="*/ 51 h 10311"/>
                <a:gd name="T112" fmla="*/ 8371 w 10563"/>
                <a:gd name="T113" fmla="*/ 1297 h 10311"/>
                <a:gd name="T114" fmla="*/ 9400 w 10563"/>
                <a:gd name="T115" fmla="*/ 718 h 10311"/>
                <a:gd name="T116" fmla="*/ 8682 w 10563"/>
                <a:gd name="T117" fmla="*/ 2291 h 10311"/>
                <a:gd name="T118" fmla="*/ 8150 w 10563"/>
                <a:gd name="T119" fmla="*/ 3444 h 10311"/>
                <a:gd name="T120" fmla="*/ 8023 w 10563"/>
                <a:gd name="T121" fmla="*/ 3436 h 10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63" h="10311">
                  <a:moveTo>
                    <a:pt x="7159" y="9881"/>
                  </a:moveTo>
                  <a:cubicBezTo>
                    <a:pt x="6987" y="9644"/>
                    <a:pt x="6647" y="9175"/>
                    <a:pt x="6403" y="8837"/>
                  </a:cubicBezTo>
                  <a:cubicBezTo>
                    <a:pt x="6158" y="8500"/>
                    <a:pt x="5902" y="8147"/>
                    <a:pt x="5834" y="8052"/>
                  </a:cubicBezTo>
                  <a:cubicBezTo>
                    <a:pt x="5754" y="7943"/>
                    <a:pt x="5713" y="7875"/>
                    <a:pt x="5720" y="7866"/>
                  </a:cubicBezTo>
                  <a:cubicBezTo>
                    <a:pt x="5727" y="7858"/>
                    <a:pt x="5890" y="7623"/>
                    <a:pt x="6083" y="7344"/>
                  </a:cubicBezTo>
                  <a:cubicBezTo>
                    <a:pt x="6277" y="7065"/>
                    <a:pt x="6504" y="6738"/>
                    <a:pt x="6589" y="6617"/>
                  </a:cubicBezTo>
                  <a:cubicBezTo>
                    <a:pt x="6673" y="6496"/>
                    <a:pt x="6896" y="6176"/>
                    <a:pt x="7083" y="5906"/>
                  </a:cubicBezTo>
                  <a:cubicBezTo>
                    <a:pt x="7395" y="5456"/>
                    <a:pt x="7423" y="5420"/>
                    <a:pt x="7426" y="5460"/>
                  </a:cubicBezTo>
                  <a:cubicBezTo>
                    <a:pt x="7429" y="5484"/>
                    <a:pt x="7435" y="5750"/>
                    <a:pt x="7440" y="6051"/>
                  </a:cubicBezTo>
                  <a:lnTo>
                    <a:pt x="7449" y="6597"/>
                  </a:lnTo>
                  <a:lnTo>
                    <a:pt x="7696" y="6619"/>
                  </a:lnTo>
                  <a:cubicBezTo>
                    <a:pt x="8323" y="6675"/>
                    <a:pt x="9246" y="6690"/>
                    <a:pt x="9556" y="6650"/>
                  </a:cubicBezTo>
                  <a:cubicBezTo>
                    <a:pt x="10017" y="6590"/>
                    <a:pt x="10320" y="6479"/>
                    <a:pt x="10514" y="6299"/>
                  </a:cubicBezTo>
                  <a:cubicBezTo>
                    <a:pt x="10544" y="6272"/>
                    <a:pt x="10563" y="6261"/>
                    <a:pt x="10558" y="6274"/>
                  </a:cubicBezTo>
                  <a:cubicBezTo>
                    <a:pt x="10554" y="6286"/>
                    <a:pt x="10372" y="6616"/>
                    <a:pt x="10155" y="7007"/>
                  </a:cubicBezTo>
                  <a:cubicBezTo>
                    <a:pt x="9937" y="7398"/>
                    <a:pt x="9634" y="7944"/>
                    <a:pt x="9480" y="8220"/>
                  </a:cubicBezTo>
                  <a:lnTo>
                    <a:pt x="9201" y="8722"/>
                  </a:lnTo>
                  <a:lnTo>
                    <a:pt x="9098" y="8788"/>
                  </a:lnTo>
                  <a:cubicBezTo>
                    <a:pt x="8864" y="8938"/>
                    <a:pt x="8584" y="9041"/>
                    <a:pt x="8276" y="9090"/>
                  </a:cubicBezTo>
                  <a:cubicBezTo>
                    <a:pt x="8107" y="9118"/>
                    <a:pt x="7977" y="9126"/>
                    <a:pt x="7709" y="9129"/>
                  </a:cubicBezTo>
                  <a:lnTo>
                    <a:pt x="7476" y="9131"/>
                  </a:lnTo>
                  <a:lnTo>
                    <a:pt x="7481" y="9721"/>
                  </a:lnTo>
                  <a:cubicBezTo>
                    <a:pt x="7484" y="10045"/>
                    <a:pt x="7483" y="10311"/>
                    <a:pt x="7479" y="10311"/>
                  </a:cubicBezTo>
                  <a:cubicBezTo>
                    <a:pt x="7474" y="10311"/>
                    <a:pt x="7331" y="10117"/>
                    <a:pt x="7159" y="9881"/>
                  </a:cubicBezTo>
                  <a:close/>
                  <a:moveTo>
                    <a:pt x="3969" y="9195"/>
                  </a:moveTo>
                  <a:cubicBezTo>
                    <a:pt x="3741" y="9186"/>
                    <a:pt x="3458" y="9160"/>
                    <a:pt x="3243" y="9130"/>
                  </a:cubicBezTo>
                  <a:cubicBezTo>
                    <a:pt x="2773" y="9063"/>
                    <a:pt x="2700" y="9035"/>
                    <a:pt x="2599" y="8889"/>
                  </a:cubicBezTo>
                  <a:cubicBezTo>
                    <a:pt x="2517" y="8770"/>
                    <a:pt x="2481" y="8666"/>
                    <a:pt x="2473" y="8524"/>
                  </a:cubicBezTo>
                  <a:cubicBezTo>
                    <a:pt x="2453" y="8197"/>
                    <a:pt x="2560" y="7840"/>
                    <a:pt x="2859" y="7228"/>
                  </a:cubicBezTo>
                  <a:lnTo>
                    <a:pt x="3047" y="6844"/>
                  </a:lnTo>
                  <a:lnTo>
                    <a:pt x="4128" y="6853"/>
                  </a:lnTo>
                  <a:cubicBezTo>
                    <a:pt x="4723" y="6857"/>
                    <a:pt x="5213" y="6865"/>
                    <a:pt x="5218" y="6869"/>
                  </a:cubicBezTo>
                  <a:cubicBezTo>
                    <a:pt x="5226" y="6877"/>
                    <a:pt x="5251" y="7101"/>
                    <a:pt x="5282" y="7457"/>
                  </a:cubicBezTo>
                  <a:cubicBezTo>
                    <a:pt x="5290" y="7542"/>
                    <a:pt x="5305" y="7704"/>
                    <a:pt x="5315" y="7817"/>
                  </a:cubicBezTo>
                  <a:cubicBezTo>
                    <a:pt x="5326" y="7931"/>
                    <a:pt x="5341" y="8093"/>
                    <a:pt x="5349" y="8177"/>
                  </a:cubicBezTo>
                  <a:cubicBezTo>
                    <a:pt x="5356" y="8262"/>
                    <a:pt x="5371" y="8424"/>
                    <a:pt x="5382" y="8537"/>
                  </a:cubicBezTo>
                  <a:cubicBezTo>
                    <a:pt x="5420" y="8935"/>
                    <a:pt x="5433" y="9098"/>
                    <a:pt x="5428" y="9103"/>
                  </a:cubicBezTo>
                  <a:cubicBezTo>
                    <a:pt x="5425" y="9106"/>
                    <a:pt x="5282" y="9124"/>
                    <a:pt x="5109" y="9143"/>
                  </a:cubicBezTo>
                  <a:cubicBezTo>
                    <a:pt x="4655" y="9193"/>
                    <a:pt x="4305" y="9209"/>
                    <a:pt x="3969" y="9195"/>
                  </a:cubicBezTo>
                  <a:close/>
                  <a:moveTo>
                    <a:pt x="2148" y="8594"/>
                  </a:moveTo>
                  <a:cubicBezTo>
                    <a:pt x="2056" y="8464"/>
                    <a:pt x="1700" y="7962"/>
                    <a:pt x="1356" y="7478"/>
                  </a:cubicBezTo>
                  <a:cubicBezTo>
                    <a:pt x="1013" y="6995"/>
                    <a:pt x="721" y="6580"/>
                    <a:pt x="707" y="6557"/>
                  </a:cubicBezTo>
                  <a:cubicBezTo>
                    <a:pt x="675" y="6502"/>
                    <a:pt x="654" y="6181"/>
                    <a:pt x="671" y="6003"/>
                  </a:cubicBezTo>
                  <a:cubicBezTo>
                    <a:pt x="701" y="5693"/>
                    <a:pt x="795" y="5379"/>
                    <a:pt x="962" y="5035"/>
                  </a:cubicBezTo>
                  <a:cubicBezTo>
                    <a:pt x="1038" y="4878"/>
                    <a:pt x="1063" y="4815"/>
                    <a:pt x="1051" y="4806"/>
                  </a:cubicBezTo>
                  <a:cubicBezTo>
                    <a:pt x="1038" y="4795"/>
                    <a:pt x="725" y="4644"/>
                    <a:pt x="716" y="4644"/>
                  </a:cubicBezTo>
                  <a:cubicBezTo>
                    <a:pt x="706" y="4644"/>
                    <a:pt x="21" y="4320"/>
                    <a:pt x="11" y="4311"/>
                  </a:cubicBezTo>
                  <a:cubicBezTo>
                    <a:pt x="0" y="4300"/>
                    <a:pt x="28" y="4293"/>
                    <a:pt x="263" y="4251"/>
                  </a:cubicBezTo>
                  <a:cubicBezTo>
                    <a:pt x="329" y="4239"/>
                    <a:pt x="413" y="4224"/>
                    <a:pt x="449" y="4217"/>
                  </a:cubicBezTo>
                  <a:cubicBezTo>
                    <a:pt x="486" y="4210"/>
                    <a:pt x="615" y="4186"/>
                    <a:pt x="736" y="4164"/>
                  </a:cubicBezTo>
                  <a:cubicBezTo>
                    <a:pt x="857" y="4142"/>
                    <a:pt x="974" y="4121"/>
                    <a:pt x="996" y="4117"/>
                  </a:cubicBezTo>
                  <a:cubicBezTo>
                    <a:pt x="1481" y="4027"/>
                    <a:pt x="2077" y="3918"/>
                    <a:pt x="2263" y="3884"/>
                  </a:cubicBezTo>
                  <a:cubicBezTo>
                    <a:pt x="2380" y="3863"/>
                    <a:pt x="2560" y="3830"/>
                    <a:pt x="2663" y="3810"/>
                  </a:cubicBezTo>
                  <a:cubicBezTo>
                    <a:pt x="2765" y="3791"/>
                    <a:pt x="2873" y="3772"/>
                    <a:pt x="2903" y="3768"/>
                  </a:cubicBezTo>
                  <a:lnTo>
                    <a:pt x="2957" y="3761"/>
                  </a:lnTo>
                  <a:lnTo>
                    <a:pt x="3035" y="3899"/>
                  </a:lnTo>
                  <a:cubicBezTo>
                    <a:pt x="3078" y="3975"/>
                    <a:pt x="3247" y="4271"/>
                    <a:pt x="3409" y="4557"/>
                  </a:cubicBezTo>
                  <a:cubicBezTo>
                    <a:pt x="4501" y="6475"/>
                    <a:pt x="4429" y="6348"/>
                    <a:pt x="4429" y="6358"/>
                  </a:cubicBezTo>
                  <a:cubicBezTo>
                    <a:pt x="4429" y="6372"/>
                    <a:pt x="4379" y="6351"/>
                    <a:pt x="4179" y="6256"/>
                  </a:cubicBezTo>
                  <a:cubicBezTo>
                    <a:pt x="4073" y="6205"/>
                    <a:pt x="3985" y="6164"/>
                    <a:pt x="3983" y="6164"/>
                  </a:cubicBezTo>
                  <a:cubicBezTo>
                    <a:pt x="3981" y="6164"/>
                    <a:pt x="3903" y="6128"/>
                    <a:pt x="3811" y="6084"/>
                  </a:cubicBezTo>
                  <a:cubicBezTo>
                    <a:pt x="3542" y="5957"/>
                    <a:pt x="3381" y="5884"/>
                    <a:pt x="3368" y="5884"/>
                  </a:cubicBezTo>
                  <a:cubicBezTo>
                    <a:pt x="3347" y="5885"/>
                    <a:pt x="3052" y="6406"/>
                    <a:pt x="2836" y="6824"/>
                  </a:cubicBezTo>
                  <a:cubicBezTo>
                    <a:pt x="2525" y="7428"/>
                    <a:pt x="2397" y="7736"/>
                    <a:pt x="2315" y="8091"/>
                  </a:cubicBezTo>
                  <a:cubicBezTo>
                    <a:pt x="2282" y="8231"/>
                    <a:pt x="2277" y="8277"/>
                    <a:pt x="2278" y="8464"/>
                  </a:cubicBezTo>
                  <a:cubicBezTo>
                    <a:pt x="2278" y="8648"/>
                    <a:pt x="2282" y="8688"/>
                    <a:pt x="2306" y="8754"/>
                  </a:cubicBezTo>
                  <a:cubicBezTo>
                    <a:pt x="2322" y="8796"/>
                    <a:pt x="2330" y="8831"/>
                    <a:pt x="2325" y="8831"/>
                  </a:cubicBezTo>
                  <a:cubicBezTo>
                    <a:pt x="2320" y="8830"/>
                    <a:pt x="2240" y="8724"/>
                    <a:pt x="2148" y="8594"/>
                  </a:cubicBezTo>
                  <a:close/>
                  <a:moveTo>
                    <a:pt x="8328" y="6315"/>
                  </a:moveTo>
                  <a:cubicBezTo>
                    <a:pt x="8287" y="6229"/>
                    <a:pt x="8236" y="6121"/>
                    <a:pt x="8216" y="6077"/>
                  </a:cubicBezTo>
                  <a:cubicBezTo>
                    <a:pt x="8196" y="6033"/>
                    <a:pt x="8105" y="5841"/>
                    <a:pt x="8016" y="5651"/>
                  </a:cubicBezTo>
                  <a:cubicBezTo>
                    <a:pt x="7761" y="5109"/>
                    <a:pt x="7749" y="5084"/>
                    <a:pt x="7700" y="4977"/>
                  </a:cubicBezTo>
                  <a:cubicBezTo>
                    <a:pt x="7674" y="4922"/>
                    <a:pt x="7623" y="4813"/>
                    <a:pt x="7586" y="4734"/>
                  </a:cubicBezTo>
                  <a:cubicBezTo>
                    <a:pt x="7549" y="4655"/>
                    <a:pt x="7521" y="4589"/>
                    <a:pt x="7524" y="4586"/>
                  </a:cubicBezTo>
                  <a:cubicBezTo>
                    <a:pt x="7545" y="4568"/>
                    <a:pt x="9443" y="3444"/>
                    <a:pt x="9452" y="3444"/>
                  </a:cubicBezTo>
                  <a:cubicBezTo>
                    <a:pt x="9465" y="3444"/>
                    <a:pt x="9737" y="3880"/>
                    <a:pt x="9853" y="4086"/>
                  </a:cubicBezTo>
                  <a:cubicBezTo>
                    <a:pt x="10111" y="4543"/>
                    <a:pt x="10320" y="5044"/>
                    <a:pt x="10476" y="5577"/>
                  </a:cubicBezTo>
                  <a:cubicBezTo>
                    <a:pt x="10549" y="5828"/>
                    <a:pt x="10552" y="5883"/>
                    <a:pt x="10493" y="5988"/>
                  </a:cubicBezTo>
                  <a:cubicBezTo>
                    <a:pt x="10355" y="6237"/>
                    <a:pt x="10136" y="6353"/>
                    <a:pt x="9643" y="6439"/>
                  </a:cubicBezTo>
                  <a:cubicBezTo>
                    <a:pt x="9542" y="6457"/>
                    <a:pt x="9399" y="6463"/>
                    <a:pt x="8959" y="6467"/>
                  </a:cubicBezTo>
                  <a:lnTo>
                    <a:pt x="8402" y="6473"/>
                  </a:lnTo>
                  <a:lnTo>
                    <a:pt x="8328" y="6315"/>
                  </a:lnTo>
                  <a:close/>
                  <a:moveTo>
                    <a:pt x="4129" y="3513"/>
                  </a:moveTo>
                  <a:cubicBezTo>
                    <a:pt x="4092" y="3492"/>
                    <a:pt x="3835" y="3345"/>
                    <a:pt x="3556" y="3185"/>
                  </a:cubicBezTo>
                  <a:cubicBezTo>
                    <a:pt x="3277" y="3024"/>
                    <a:pt x="2872" y="2792"/>
                    <a:pt x="2656" y="2669"/>
                  </a:cubicBezTo>
                  <a:cubicBezTo>
                    <a:pt x="2440" y="2545"/>
                    <a:pt x="2258" y="2438"/>
                    <a:pt x="2251" y="2431"/>
                  </a:cubicBezTo>
                  <a:cubicBezTo>
                    <a:pt x="2243" y="2423"/>
                    <a:pt x="2243" y="2412"/>
                    <a:pt x="2252" y="2401"/>
                  </a:cubicBezTo>
                  <a:cubicBezTo>
                    <a:pt x="2260" y="2392"/>
                    <a:pt x="2322" y="2282"/>
                    <a:pt x="2389" y="2157"/>
                  </a:cubicBezTo>
                  <a:cubicBezTo>
                    <a:pt x="2742" y="1506"/>
                    <a:pt x="3122" y="988"/>
                    <a:pt x="3617" y="482"/>
                  </a:cubicBezTo>
                  <a:cubicBezTo>
                    <a:pt x="3833" y="262"/>
                    <a:pt x="3947" y="204"/>
                    <a:pt x="4161" y="204"/>
                  </a:cubicBezTo>
                  <a:cubicBezTo>
                    <a:pt x="4334" y="205"/>
                    <a:pt x="4458" y="250"/>
                    <a:pt x="4616" y="372"/>
                  </a:cubicBezTo>
                  <a:cubicBezTo>
                    <a:pt x="4743" y="470"/>
                    <a:pt x="4932" y="677"/>
                    <a:pt x="5070" y="871"/>
                  </a:cubicBezTo>
                  <a:cubicBezTo>
                    <a:pt x="5139" y="967"/>
                    <a:pt x="5525" y="1650"/>
                    <a:pt x="5526" y="1677"/>
                  </a:cubicBezTo>
                  <a:cubicBezTo>
                    <a:pt x="5527" y="1688"/>
                    <a:pt x="4236" y="3507"/>
                    <a:pt x="4205" y="3540"/>
                  </a:cubicBezTo>
                  <a:cubicBezTo>
                    <a:pt x="4200" y="3545"/>
                    <a:pt x="4166" y="3533"/>
                    <a:pt x="4129" y="3513"/>
                  </a:cubicBezTo>
                  <a:close/>
                  <a:moveTo>
                    <a:pt x="8023" y="3436"/>
                  </a:moveTo>
                  <a:cubicBezTo>
                    <a:pt x="8008" y="3434"/>
                    <a:pt x="7894" y="3423"/>
                    <a:pt x="7769" y="3411"/>
                  </a:cubicBezTo>
                  <a:cubicBezTo>
                    <a:pt x="7645" y="3400"/>
                    <a:pt x="7354" y="3373"/>
                    <a:pt x="7123" y="3350"/>
                  </a:cubicBezTo>
                  <a:cubicBezTo>
                    <a:pt x="6892" y="3328"/>
                    <a:pt x="6610" y="3301"/>
                    <a:pt x="6496" y="3291"/>
                  </a:cubicBezTo>
                  <a:cubicBezTo>
                    <a:pt x="6382" y="3280"/>
                    <a:pt x="6229" y="3265"/>
                    <a:pt x="6156" y="3258"/>
                  </a:cubicBezTo>
                  <a:cubicBezTo>
                    <a:pt x="6083" y="3251"/>
                    <a:pt x="5930" y="3236"/>
                    <a:pt x="5816" y="3225"/>
                  </a:cubicBezTo>
                  <a:cubicBezTo>
                    <a:pt x="5145" y="3160"/>
                    <a:pt x="5147" y="3160"/>
                    <a:pt x="5164" y="3146"/>
                  </a:cubicBezTo>
                  <a:cubicBezTo>
                    <a:pt x="5167" y="3144"/>
                    <a:pt x="5202" y="3124"/>
                    <a:pt x="5243" y="3102"/>
                  </a:cubicBezTo>
                  <a:cubicBezTo>
                    <a:pt x="5283" y="3080"/>
                    <a:pt x="5481" y="2967"/>
                    <a:pt x="5683" y="2851"/>
                  </a:cubicBezTo>
                  <a:cubicBezTo>
                    <a:pt x="5884" y="2734"/>
                    <a:pt x="6075" y="2625"/>
                    <a:pt x="6106" y="2607"/>
                  </a:cubicBezTo>
                  <a:cubicBezTo>
                    <a:pt x="6137" y="2590"/>
                    <a:pt x="6165" y="2571"/>
                    <a:pt x="6169" y="2565"/>
                  </a:cubicBezTo>
                  <a:cubicBezTo>
                    <a:pt x="6191" y="2529"/>
                    <a:pt x="5716" y="1575"/>
                    <a:pt x="5415" y="1050"/>
                  </a:cubicBezTo>
                  <a:cubicBezTo>
                    <a:pt x="5113" y="522"/>
                    <a:pt x="4722" y="123"/>
                    <a:pt x="4431" y="45"/>
                  </a:cubicBezTo>
                  <a:cubicBezTo>
                    <a:pt x="4398" y="36"/>
                    <a:pt x="4378" y="24"/>
                    <a:pt x="4384" y="17"/>
                  </a:cubicBezTo>
                  <a:cubicBezTo>
                    <a:pt x="4391" y="11"/>
                    <a:pt x="5023" y="5"/>
                    <a:pt x="5789" y="3"/>
                  </a:cubicBezTo>
                  <a:lnTo>
                    <a:pt x="7183" y="0"/>
                  </a:lnTo>
                  <a:lnTo>
                    <a:pt x="7276" y="51"/>
                  </a:lnTo>
                  <a:cubicBezTo>
                    <a:pt x="7696" y="278"/>
                    <a:pt x="8047" y="669"/>
                    <a:pt x="8321" y="1214"/>
                  </a:cubicBezTo>
                  <a:cubicBezTo>
                    <a:pt x="8344" y="1260"/>
                    <a:pt x="8366" y="1297"/>
                    <a:pt x="8371" y="1297"/>
                  </a:cubicBezTo>
                  <a:cubicBezTo>
                    <a:pt x="8375" y="1297"/>
                    <a:pt x="8568" y="1188"/>
                    <a:pt x="8800" y="1055"/>
                  </a:cubicBezTo>
                  <a:cubicBezTo>
                    <a:pt x="9407" y="707"/>
                    <a:pt x="9395" y="713"/>
                    <a:pt x="9400" y="718"/>
                  </a:cubicBezTo>
                  <a:cubicBezTo>
                    <a:pt x="9405" y="722"/>
                    <a:pt x="9244" y="1077"/>
                    <a:pt x="9075" y="1437"/>
                  </a:cubicBezTo>
                  <a:cubicBezTo>
                    <a:pt x="9041" y="1511"/>
                    <a:pt x="8864" y="1895"/>
                    <a:pt x="8682" y="2291"/>
                  </a:cubicBezTo>
                  <a:cubicBezTo>
                    <a:pt x="8346" y="3024"/>
                    <a:pt x="8292" y="3140"/>
                    <a:pt x="8202" y="3334"/>
                  </a:cubicBezTo>
                  <a:lnTo>
                    <a:pt x="8150" y="3444"/>
                  </a:lnTo>
                  <a:lnTo>
                    <a:pt x="8100" y="3442"/>
                  </a:lnTo>
                  <a:cubicBezTo>
                    <a:pt x="8072" y="3441"/>
                    <a:pt x="8037" y="3439"/>
                    <a:pt x="8023" y="3436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724" name="ACET"/>
          <p:cNvGrpSpPr>
            <a:grpSpLocks/>
          </p:cNvGrpSpPr>
          <p:nvPr/>
        </p:nvGrpSpPr>
        <p:grpSpPr bwMode="gray">
          <a:xfrm>
            <a:off x="475488" y="739953"/>
            <a:ext cx="4502150" cy="265113"/>
            <a:chOff x="915" y="863"/>
            <a:chExt cx="2686" cy="167"/>
          </a:xfrm>
        </p:grpSpPr>
        <p:cxnSp>
          <p:nvCxnSpPr>
            <p:cNvPr id="725" name="AutoShape 249"/>
            <p:cNvCxnSpPr>
              <a:cxnSpLocks noChangeShapeType="1"/>
              <a:stCxn id="726" idx="4"/>
              <a:endCxn id="72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6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Impact on global liquids demand </a:t>
              </a:r>
              <a:r>
                <a:rPr lang="en-US" dirty="0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mb</a:t>
              </a:r>
              <a:r>
                <a:rPr lang="en-US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/d</a:t>
              </a:r>
              <a:endParaRPr lang="en-US" baseline="0" noProof="0" dirty="0">
                <a:solidFill>
                  <a:schemeClr val="accent2"/>
                </a:solidFill>
                <a:latin typeface="+mn-lt"/>
              </a:endParaRPr>
            </a:p>
          </p:txBody>
        </p:sp>
      </p:grpSp>
      <p:grpSp>
        <p:nvGrpSpPr>
          <p:cNvPr id="194" name="Group 193"/>
          <p:cNvGrpSpPr/>
          <p:nvPr/>
        </p:nvGrpSpPr>
        <p:grpSpPr>
          <a:xfrm>
            <a:off x="4556125" y="3005336"/>
            <a:ext cx="443858" cy="443858"/>
            <a:chOff x="412171" y="3724904"/>
            <a:chExt cx="443858" cy="443858"/>
          </a:xfrm>
        </p:grpSpPr>
        <p:sp>
          <p:nvSpPr>
            <p:cNvPr id="732" name="Oval 62"/>
            <p:cNvSpPr txBox="1"/>
            <p:nvPr>
              <p:custDataLst>
                <p:tags r:id="rId38"/>
              </p:custDataLst>
            </p:nvPr>
          </p:nvSpPr>
          <p:spPr>
            <a:xfrm>
              <a:off x="412171" y="3724904"/>
              <a:ext cx="443858" cy="443858"/>
            </a:xfrm>
            <a:prstGeom prst="ellipse">
              <a:avLst/>
            </a:prstGeom>
            <a:solidFill>
              <a:schemeClr val="accent2"/>
            </a:solidFill>
            <a:ln w="15875">
              <a:noFill/>
            </a:ln>
          </p:spPr>
          <p:txBody>
            <a:bodyPr vert="horz" wrap="square" lIns="3810" tIns="0" rIns="3810" bIns="0" rtlCol="0" anchor="ctr" anchorCtr="1">
              <a:no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endParaRPr lang="en-GB" dirty="0"/>
            </a:p>
          </p:txBody>
        </p:sp>
        <p:grpSp>
          <p:nvGrpSpPr>
            <p:cNvPr id="717" name="Group 716"/>
            <p:cNvGrpSpPr/>
            <p:nvPr/>
          </p:nvGrpSpPr>
          <p:grpSpPr>
            <a:xfrm>
              <a:off x="484749" y="3802307"/>
              <a:ext cx="297288" cy="272514"/>
              <a:chOff x="3241956" y="5516276"/>
              <a:chExt cx="825842" cy="739382"/>
            </a:xfrm>
            <a:solidFill>
              <a:schemeClr val="bg1"/>
            </a:solidFill>
          </p:grpSpPr>
          <p:sp>
            <p:nvSpPr>
              <p:cNvPr id="718" name="Freeform 27"/>
              <p:cNvSpPr>
                <a:spLocks/>
              </p:cNvSpPr>
              <p:nvPr/>
            </p:nvSpPr>
            <p:spPr bwMode="auto">
              <a:xfrm>
                <a:off x="3298602" y="6106589"/>
                <a:ext cx="119255" cy="149069"/>
              </a:xfrm>
              <a:custGeom>
                <a:avLst/>
                <a:gdLst>
                  <a:gd name="T0" fmla="*/ 0 w 178"/>
                  <a:gd name="T1" fmla="*/ 178 h 223"/>
                  <a:gd name="T2" fmla="*/ 45 w 178"/>
                  <a:gd name="T3" fmla="*/ 223 h 223"/>
                  <a:gd name="T4" fmla="*/ 134 w 178"/>
                  <a:gd name="T5" fmla="*/ 223 h 223"/>
                  <a:gd name="T6" fmla="*/ 178 w 178"/>
                  <a:gd name="T7" fmla="*/ 178 h 223"/>
                  <a:gd name="T8" fmla="*/ 178 w 178"/>
                  <a:gd name="T9" fmla="*/ 0 h 223"/>
                  <a:gd name="T10" fmla="*/ 0 w 178"/>
                  <a:gd name="T11" fmla="*/ 0 h 223"/>
                  <a:gd name="T12" fmla="*/ 0 w 178"/>
                  <a:gd name="T13" fmla="*/ 178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8" h="223">
                    <a:moveTo>
                      <a:pt x="0" y="178"/>
                    </a:moveTo>
                    <a:cubicBezTo>
                      <a:pt x="0" y="203"/>
                      <a:pt x="20" y="223"/>
                      <a:pt x="45" y="223"/>
                    </a:cubicBezTo>
                    <a:cubicBezTo>
                      <a:pt x="134" y="223"/>
                      <a:pt x="134" y="223"/>
                      <a:pt x="134" y="223"/>
                    </a:cubicBezTo>
                    <a:cubicBezTo>
                      <a:pt x="158" y="223"/>
                      <a:pt x="178" y="203"/>
                      <a:pt x="178" y="178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719" name="Freeform 28"/>
              <p:cNvSpPr>
                <a:spLocks/>
              </p:cNvSpPr>
              <p:nvPr/>
            </p:nvSpPr>
            <p:spPr bwMode="auto">
              <a:xfrm>
                <a:off x="3888915" y="6106589"/>
                <a:ext cx="119255" cy="149069"/>
              </a:xfrm>
              <a:custGeom>
                <a:avLst/>
                <a:gdLst>
                  <a:gd name="T0" fmla="*/ 0 w 178"/>
                  <a:gd name="T1" fmla="*/ 178 h 223"/>
                  <a:gd name="T2" fmla="*/ 45 w 178"/>
                  <a:gd name="T3" fmla="*/ 223 h 223"/>
                  <a:gd name="T4" fmla="*/ 133 w 178"/>
                  <a:gd name="T5" fmla="*/ 223 h 223"/>
                  <a:gd name="T6" fmla="*/ 178 w 178"/>
                  <a:gd name="T7" fmla="*/ 178 h 223"/>
                  <a:gd name="T8" fmla="*/ 178 w 178"/>
                  <a:gd name="T9" fmla="*/ 0 h 223"/>
                  <a:gd name="T10" fmla="*/ 0 w 178"/>
                  <a:gd name="T11" fmla="*/ 0 h 223"/>
                  <a:gd name="T12" fmla="*/ 0 w 178"/>
                  <a:gd name="T13" fmla="*/ 178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8" h="223">
                    <a:moveTo>
                      <a:pt x="0" y="178"/>
                    </a:moveTo>
                    <a:cubicBezTo>
                      <a:pt x="0" y="203"/>
                      <a:pt x="20" y="223"/>
                      <a:pt x="45" y="223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58" y="223"/>
                      <a:pt x="178" y="203"/>
                      <a:pt x="178" y="178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7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720" name="Freeform 29"/>
              <p:cNvSpPr>
                <a:spLocks/>
              </p:cNvSpPr>
              <p:nvPr/>
            </p:nvSpPr>
            <p:spPr bwMode="auto">
              <a:xfrm>
                <a:off x="3978357" y="5692177"/>
                <a:ext cx="89441" cy="59628"/>
              </a:xfrm>
              <a:custGeom>
                <a:avLst/>
                <a:gdLst>
                  <a:gd name="T0" fmla="*/ 44 w 133"/>
                  <a:gd name="T1" fmla="*/ 89 h 89"/>
                  <a:gd name="T2" fmla="*/ 88 w 133"/>
                  <a:gd name="T3" fmla="*/ 89 h 89"/>
                  <a:gd name="T4" fmla="*/ 133 w 133"/>
                  <a:gd name="T5" fmla="*/ 45 h 89"/>
                  <a:gd name="T6" fmla="*/ 88 w 133"/>
                  <a:gd name="T7" fmla="*/ 0 h 89"/>
                  <a:gd name="T8" fmla="*/ 44 w 133"/>
                  <a:gd name="T9" fmla="*/ 0 h 89"/>
                  <a:gd name="T10" fmla="*/ 0 w 133"/>
                  <a:gd name="T11" fmla="*/ 45 h 89"/>
                  <a:gd name="T12" fmla="*/ 44 w 133"/>
                  <a:gd name="T13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89">
                    <a:moveTo>
                      <a:pt x="44" y="89"/>
                    </a:moveTo>
                    <a:cubicBezTo>
                      <a:pt x="88" y="89"/>
                      <a:pt x="88" y="89"/>
                      <a:pt x="88" y="89"/>
                    </a:cubicBezTo>
                    <a:cubicBezTo>
                      <a:pt x="113" y="89"/>
                      <a:pt x="133" y="69"/>
                      <a:pt x="133" y="45"/>
                    </a:cubicBezTo>
                    <a:cubicBezTo>
                      <a:pt x="133" y="20"/>
                      <a:pt x="113" y="0"/>
                      <a:pt x="88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19" y="0"/>
                      <a:pt x="0" y="20"/>
                      <a:pt x="0" y="45"/>
                    </a:cubicBezTo>
                    <a:cubicBezTo>
                      <a:pt x="0" y="69"/>
                      <a:pt x="19" y="89"/>
                      <a:pt x="44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721" name="Freeform 30"/>
              <p:cNvSpPr>
                <a:spLocks/>
              </p:cNvSpPr>
              <p:nvPr/>
            </p:nvSpPr>
            <p:spPr bwMode="auto">
              <a:xfrm>
                <a:off x="3241956" y="5692177"/>
                <a:ext cx="89441" cy="59628"/>
              </a:xfrm>
              <a:custGeom>
                <a:avLst/>
                <a:gdLst>
                  <a:gd name="T0" fmla="*/ 44 w 133"/>
                  <a:gd name="T1" fmla="*/ 89 h 89"/>
                  <a:gd name="T2" fmla="*/ 88 w 133"/>
                  <a:gd name="T3" fmla="*/ 89 h 89"/>
                  <a:gd name="T4" fmla="*/ 133 w 133"/>
                  <a:gd name="T5" fmla="*/ 45 h 89"/>
                  <a:gd name="T6" fmla="*/ 88 w 133"/>
                  <a:gd name="T7" fmla="*/ 0 h 89"/>
                  <a:gd name="T8" fmla="*/ 44 w 133"/>
                  <a:gd name="T9" fmla="*/ 0 h 89"/>
                  <a:gd name="T10" fmla="*/ 0 w 133"/>
                  <a:gd name="T11" fmla="*/ 45 h 89"/>
                  <a:gd name="T12" fmla="*/ 44 w 133"/>
                  <a:gd name="T13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3" h="89">
                    <a:moveTo>
                      <a:pt x="44" y="89"/>
                    </a:moveTo>
                    <a:cubicBezTo>
                      <a:pt x="88" y="89"/>
                      <a:pt x="88" y="89"/>
                      <a:pt x="88" y="89"/>
                    </a:cubicBezTo>
                    <a:cubicBezTo>
                      <a:pt x="113" y="89"/>
                      <a:pt x="133" y="69"/>
                      <a:pt x="133" y="45"/>
                    </a:cubicBezTo>
                    <a:cubicBezTo>
                      <a:pt x="133" y="20"/>
                      <a:pt x="113" y="0"/>
                      <a:pt x="88" y="0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20" y="0"/>
                      <a:pt x="0" y="20"/>
                      <a:pt x="0" y="45"/>
                    </a:cubicBezTo>
                    <a:cubicBezTo>
                      <a:pt x="0" y="69"/>
                      <a:pt x="20" y="89"/>
                      <a:pt x="44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  <p:sp>
            <p:nvSpPr>
              <p:cNvPr id="722" name="Freeform 31"/>
              <p:cNvSpPr>
                <a:spLocks noEditPoints="1"/>
              </p:cNvSpPr>
              <p:nvPr/>
            </p:nvSpPr>
            <p:spPr bwMode="auto">
              <a:xfrm>
                <a:off x="3241956" y="5516276"/>
                <a:ext cx="825842" cy="560499"/>
              </a:xfrm>
              <a:custGeom>
                <a:avLst/>
                <a:gdLst>
                  <a:gd name="T0" fmla="*/ 1079 w 1245"/>
                  <a:gd name="T1" fmla="*/ 408 h 845"/>
                  <a:gd name="T2" fmla="*/ 1049 w 1245"/>
                  <a:gd name="T3" fmla="*/ 214 h 845"/>
                  <a:gd name="T4" fmla="*/ 800 w 1245"/>
                  <a:gd name="T5" fmla="*/ 0 h 845"/>
                  <a:gd name="T6" fmla="*/ 445 w 1245"/>
                  <a:gd name="T7" fmla="*/ 0 h 845"/>
                  <a:gd name="T8" fmla="*/ 196 w 1245"/>
                  <a:gd name="T9" fmla="*/ 214 h 845"/>
                  <a:gd name="T10" fmla="*/ 166 w 1245"/>
                  <a:gd name="T11" fmla="*/ 408 h 845"/>
                  <a:gd name="T12" fmla="*/ 0 w 1245"/>
                  <a:gd name="T13" fmla="*/ 623 h 845"/>
                  <a:gd name="T14" fmla="*/ 0 w 1245"/>
                  <a:gd name="T15" fmla="*/ 800 h 845"/>
                  <a:gd name="T16" fmla="*/ 45 w 1245"/>
                  <a:gd name="T17" fmla="*/ 845 h 845"/>
                  <a:gd name="T18" fmla="*/ 1200 w 1245"/>
                  <a:gd name="T19" fmla="*/ 845 h 845"/>
                  <a:gd name="T20" fmla="*/ 1245 w 1245"/>
                  <a:gd name="T21" fmla="*/ 800 h 845"/>
                  <a:gd name="T22" fmla="*/ 1245 w 1245"/>
                  <a:gd name="T23" fmla="*/ 623 h 845"/>
                  <a:gd name="T24" fmla="*/ 1079 w 1245"/>
                  <a:gd name="T25" fmla="*/ 408 h 845"/>
                  <a:gd name="T26" fmla="*/ 284 w 1245"/>
                  <a:gd name="T27" fmla="*/ 227 h 845"/>
                  <a:gd name="T28" fmla="*/ 445 w 1245"/>
                  <a:gd name="T29" fmla="*/ 89 h 845"/>
                  <a:gd name="T30" fmla="*/ 800 w 1245"/>
                  <a:gd name="T31" fmla="*/ 89 h 845"/>
                  <a:gd name="T32" fmla="*/ 961 w 1245"/>
                  <a:gd name="T33" fmla="*/ 227 h 845"/>
                  <a:gd name="T34" fmla="*/ 988 w 1245"/>
                  <a:gd name="T35" fmla="*/ 400 h 845"/>
                  <a:gd name="T36" fmla="*/ 257 w 1245"/>
                  <a:gd name="T37" fmla="*/ 400 h 845"/>
                  <a:gd name="T38" fmla="*/ 284 w 1245"/>
                  <a:gd name="T39" fmla="*/ 227 h 845"/>
                  <a:gd name="T40" fmla="*/ 178 w 1245"/>
                  <a:gd name="T41" fmla="*/ 712 h 845"/>
                  <a:gd name="T42" fmla="*/ 89 w 1245"/>
                  <a:gd name="T43" fmla="*/ 623 h 845"/>
                  <a:gd name="T44" fmla="*/ 178 w 1245"/>
                  <a:gd name="T45" fmla="*/ 534 h 845"/>
                  <a:gd name="T46" fmla="*/ 267 w 1245"/>
                  <a:gd name="T47" fmla="*/ 623 h 845"/>
                  <a:gd name="T48" fmla="*/ 178 w 1245"/>
                  <a:gd name="T49" fmla="*/ 712 h 845"/>
                  <a:gd name="T50" fmla="*/ 823 w 1245"/>
                  <a:gd name="T51" fmla="*/ 712 h 845"/>
                  <a:gd name="T52" fmla="*/ 423 w 1245"/>
                  <a:gd name="T53" fmla="*/ 712 h 845"/>
                  <a:gd name="T54" fmla="*/ 400 w 1245"/>
                  <a:gd name="T55" fmla="*/ 689 h 845"/>
                  <a:gd name="T56" fmla="*/ 423 w 1245"/>
                  <a:gd name="T57" fmla="*/ 667 h 845"/>
                  <a:gd name="T58" fmla="*/ 823 w 1245"/>
                  <a:gd name="T59" fmla="*/ 667 h 845"/>
                  <a:gd name="T60" fmla="*/ 845 w 1245"/>
                  <a:gd name="T61" fmla="*/ 689 h 845"/>
                  <a:gd name="T62" fmla="*/ 823 w 1245"/>
                  <a:gd name="T63" fmla="*/ 712 h 845"/>
                  <a:gd name="T64" fmla="*/ 823 w 1245"/>
                  <a:gd name="T65" fmla="*/ 623 h 845"/>
                  <a:gd name="T66" fmla="*/ 423 w 1245"/>
                  <a:gd name="T67" fmla="*/ 623 h 845"/>
                  <a:gd name="T68" fmla="*/ 400 w 1245"/>
                  <a:gd name="T69" fmla="*/ 600 h 845"/>
                  <a:gd name="T70" fmla="*/ 423 w 1245"/>
                  <a:gd name="T71" fmla="*/ 578 h 845"/>
                  <a:gd name="T72" fmla="*/ 823 w 1245"/>
                  <a:gd name="T73" fmla="*/ 578 h 845"/>
                  <a:gd name="T74" fmla="*/ 845 w 1245"/>
                  <a:gd name="T75" fmla="*/ 600 h 845"/>
                  <a:gd name="T76" fmla="*/ 823 w 1245"/>
                  <a:gd name="T77" fmla="*/ 623 h 845"/>
                  <a:gd name="T78" fmla="*/ 1068 w 1245"/>
                  <a:gd name="T79" fmla="*/ 712 h 845"/>
                  <a:gd name="T80" fmla="*/ 979 w 1245"/>
                  <a:gd name="T81" fmla="*/ 623 h 845"/>
                  <a:gd name="T82" fmla="*/ 1068 w 1245"/>
                  <a:gd name="T83" fmla="*/ 534 h 845"/>
                  <a:gd name="T84" fmla="*/ 1156 w 1245"/>
                  <a:gd name="T85" fmla="*/ 623 h 845"/>
                  <a:gd name="T86" fmla="*/ 1068 w 1245"/>
                  <a:gd name="T87" fmla="*/ 712 h 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45" h="845">
                    <a:moveTo>
                      <a:pt x="1079" y="408"/>
                    </a:moveTo>
                    <a:cubicBezTo>
                      <a:pt x="1049" y="214"/>
                      <a:pt x="1049" y="214"/>
                      <a:pt x="1049" y="214"/>
                    </a:cubicBezTo>
                    <a:cubicBezTo>
                      <a:pt x="1031" y="96"/>
                      <a:pt x="919" y="0"/>
                      <a:pt x="800" y="0"/>
                    </a:cubicBezTo>
                    <a:cubicBezTo>
                      <a:pt x="445" y="0"/>
                      <a:pt x="445" y="0"/>
                      <a:pt x="445" y="0"/>
                    </a:cubicBezTo>
                    <a:cubicBezTo>
                      <a:pt x="326" y="0"/>
                      <a:pt x="214" y="96"/>
                      <a:pt x="196" y="214"/>
                    </a:cubicBezTo>
                    <a:cubicBezTo>
                      <a:pt x="166" y="408"/>
                      <a:pt x="166" y="408"/>
                      <a:pt x="166" y="408"/>
                    </a:cubicBezTo>
                    <a:cubicBezTo>
                      <a:pt x="71" y="433"/>
                      <a:pt x="0" y="520"/>
                      <a:pt x="0" y="623"/>
                    </a:cubicBezTo>
                    <a:cubicBezTo>
                      <a:pt x="0" y="800"/>
                      <a:pt x="0" y="800"/>
                      <a:pt x="0" y="800"/>
                    </a:cubicBezTo>
                    <a:cubicBezTo>
                      <a:pt x="0" y="825"/>
                      <a:pt x="20" y="845"/>
                      <a:pt x="45" y="845"/>
                    </a:cubicBezTo>
                    <a:cubicBezTo>
                      <a:pt x="1200" y="845"/>
                      <a:pt x="1200" y="845"/>
                      <a:pt x="1200" y="845"/>
                    </a:cubicBezTo>
                    <a:cubicBezTo>
                      <a:pt x="1225" y="845"/>
                      <a:pt x="1245" y="825"/>
                      <a:pt x="1245" y="800"/>
                    </a:cubicBezTo>
                    <a:cubicBezTo>
                      <a:pt x="1245" y="623"/>
                      <a:pt x="1245" y="623"/>
                      <a:pt x="1245" y="623"/>
                    </a:cubicBezTo>
                    <a:cubicBezTo>
                      <a:pt x="1245" y="520"/>
                      <a:pt x="1174" y="433"/>
                      <a:pt x="1079" y="408"/>
                    </a:cubicBezTo>
                    <a:close/>
                    <a:moveTo>
                      <a:pt x="284" y="227"/>
                    </a:moveTo>
                    <a:cubicBezTo>
                      <a:pt x="295" y="153"/>
                      <a:pt x="369" y="89"/>
                      <a:pt x="445" y="89"/>
                    </a:cubicBezTo>
                    <a:cubicBezTo>
                      <a:pt x="800" y="89"/>
                      <a:pt x="800" y="89"/>
                      <a:pt x="800" y="89"/>
                    </a:cubicBezTo>
                    <a:cubicBezTo>
                      <a:pt x="876" y="89"/>
                      <a:pt x="950" y="153"/>
                      <a:pt x="961" y="227"/>
                    </a:cubicBezTo>
                    <a:cubicBezTo>
                      <a:pt x="988" y="400"/>
                      <a:pt x="988" y="400"/>
                      <a:pt x="988" y="400"/>
                    </a:cubicBezTo>
                    <a:cubicBezTo>
                      <a:pt x="257" y="400"/>
                      <a:pt x="257" y="400"/>
                      <a:pt x="257" y="400"/>
                    </a:cubicBezTo>
                    <a:lnTo>
                      <a:pt x="284" y="227"/>
                    </a:lnTo>
                    <a:close/>
                    <a:moveTo>
                      <a:pt x="178" y="712"/>
                    </a:moveTo>
                    <a:cubicBezTo>
                      <a:pt x="129" y="712"/>
                      <a:pt x="89" y="672"/>
                      <a:pt x="89" y="623"/>
                    </a:cubicBezTo>
                    <a:cubicBezTo>
                      <a:pt x="89" y="574"/>
                      <a:pt x="129" y="534"/>
                      <a:pt x="178" y="534"/>
                    </a:cubicBezTo>
                    <a:cubicBezTo>
                      <a:pt x="227" y="534"/>
                      <a:pt x="267" y="574"/>
                      <a:pt x="267" y="623"/>
                    </a:cubicBezTo>
                    <a:cubicBezTo>
                      <a:pt x="267" y="672"/>
                      <a:pt x="227" y="712"/>
                      <a:pt x="178" y="712"/>
                    </a:cubicBezTo>
                    <a:close/>
                    <a:moveTo>
                      <a:pt x="823" y="712"/>
                    </a:moveTo>
                    <a:cubicBezTo>
                      <a:pt x="423" y="712"/>
                      <a:pt x="423" y="712"/>
                      <a:pt x="423" y="712"/>
                    </a:cubicBezTo>
                    <a:cubicBezTo>
                      <a:pt x="410" y="712"/>
                      <a:pt x="400" y="702"/>
                      <a:pt x="400" y="689"/>
                    </a:cubicBezTo>
                    <a:cubicBezTo>
                      <a:pt x="400" y="677"/>
                      <a:pt x="410" y="667"/>
                      <a:pt x="423" y="667"/>
                    </a:cubicBezTo>
                    <a:cubicBezTo>
                      <a:pt x="823" y="667"/>
                      <a:pt x="823" y="667"/>
                      <a:pt x="823" y="667"/>
                    </a:cubicBezTo>
                    <a:cubicBezTo>
                      <a:pt x="835" y="667"/>
                      <a:pt x="845" y="677"/>
                      <a:pt x="845" y="689"/>
                    </a:cubicBezTo>
                    <a:cubicBezTo>
                      <a:pt x="845" y="702"/>
                      <a:pt x="835" y="712"/>
                      <a:pt x="823" y="712"/>
                    </a:cubicBezTo>
                    <a:close/>
                    <a:moveTo>
                      <a:pt x="823" y="623"/>
                    </a:moveTo>
                    <a:cubicBezTo>
                      <a:pt x="423" y="623"/>
                      <a:pt x="423" y="623"/>
                      <a:pt x="423" y="623"/>
                    </a:cubicBezTo>
                    <a:cubicBezTo>
                      <a:pt x="410" y="623"/>
                      <a:pt x="400" y="613"/>
                      <a:pt x="400" y="600"/>
                    </a:cubicBezTo>
                    <a:cubicBezTo>
                      <a:pt x="400" y="588"/>
                      <a:pt x="410" y="578"/>
                      <a:pt x="423" y="578"/>
                    </a:cubicBezTo>
                    <a:cubicBezTo>
                      <a:pt x="823" y="578"/>
                      <a:pt x="823" y="578"/>
                      <a:pt x="823" y="578"/>
                    </a:cubicBezTo>
                    <a:cubicBezTo>
                      <a:pt x="835" y="578"/>
                      <a:pt x="845" y="588"/>
                      <a:pt x="845" y="600"/>
                    </a:cubicBezTo>
                    <a:cubicBezTo>
                      <a:pt x="845" y="613"/>
                      <a:pt x="835" y="623"/>
                      <a:pt x="823" y="623"/>
                    </a:cubicBezTo>
                    <a:close/>
                    <a:moveTo>
                      <a:pt x="1068" y="712"/>
                    </a:moveTo>
                    <a:cubicBezTo>
                      <a:pt x="1019" y="712"/>
                      <a:pt x="979" y="672"/>
                      <a:pt x="979" y="623"/>
                    </a:cubicBezTo>
                    <a:cubicBezTo>
                      <a:pt x="979" y="574"/>
                      <a:pt x="1019" y="534"/>
                      <a:pt x="1068" y="534"/>
                    </a:cubicBezTo>
                    <a:cubicBezTo>
                      <a:pt x="1117" y="534"/>
                      <a:pt x="1156" y="574"/>
                      <a:pt x="1156" y="623"/>
                    </a:cubicBezTo>
                    <a:cubicBezTo>
                      <a:pt x="1156" y="672"/>
                      <a:pt x="1117" y="712"/>
                      <a:pt x="1068" y="7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/>
              </a:p>
            </p:txBody>
          </p:sp>
        </p:grpSp>
      </p:grpSp>
      <p:grpSp>
        <p:nvGrpSpPr>
          <p:cNvPr id="195" name="Group 194"/>
          <p:cNvGrpSpPr/>
          <p:nvPr/>
        </p:nvGrpSpPr>
        <p:grpSpPr>
          <a:xfrm>
            <a:off x="4556125" y="3693167"/>
            <a:ext cx="443858" cy="443858"/>
            <a:chOff x="412171" y="4378350"/>
            <a:chExt cx="443858" cy="443858"/>
          </a:xfrm>
        </p:grpSpPr>
        <p:sp>
          <p:nvSpPr>
            <p:cNvPr id="735" name="Oval 62"/>
            <p:cNvSpPr txBox="1"/>
            <p:nvPr>
              <p:custDataLst>
                <p:tags r:id="rId37"/>
              </p:custDataLst>
            </p:nvPr>
          </p:nvSpPr>
          <p:spPr>
            <a:xfrm>
              <a:off x="412171" y="4378350"/>
              <a:ext cx="443858" cy="443858"/>
            </a:xfrm>
            <a:prstGeom prst="ellipse">
              <a:avLst/>
            </a:prstGeom>
            <a:solidFill>
              <a:schemeClr val="accent2"/>
            </a:solidFill>
            <a:ln w="15875">
              <a:noFill/>
            </a:ln>
          </p:spPr>
          <p:txBody>
            <a:bodyPr vert="horz" wrap="square" lIns="3810" tIns="0" rIns="3810" bIns="0" rtlCol="0" anchor="ctr" anchorCtr="1">
              <a:no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endParaRPr lang="en-GB" dirty="0"/>
            </a:p>
          </p:txBody>
        </p:sp>
        <p:sp>
          <p:nvSpPr>
            <p:cNvPr id="723" name="Freeform 45"/>
            <p:cNvSpPr>
              <a:spLocks noEditPoints="1"/>
            </p:cNvSpPr>
            <p:nvPr/>
          </p:nvSpPr>
          <p:spPr bwMode="auto">
            <a:xfrm>
              <a:off x="455917" y="4481038"/>
              <a:ext cx="342000" cy="252000"/>
            </a:xfrm>
            <a:custGeom>
              <a:avLst/>
              <a:gdLst>
                <a:gd name="T0" fmla="*/ 3699 w 5118"/>
                <a:gd name="T1" fmla="*/ 2983 h 3598"/>
                <a:gd name="T2" fmla="*/ 3637 w 5118"/>
                <a:gd name="T3" fmla="*/ 3189 h 3598"/>
                <a:gd name="T4" fmla="*/ 3772 w 5118"/>
                <a:gd name="T5" fmla="*/ 3353 h 3598"/>
                <a:gd name="T6" fmla="*/ 3987 w 5118"/>
                <a:gd name="T7" fmla="*/ 3331 h 3598"/>
                <a:gd name="T8" fmla="*/ 4088 w 5118"/>
                <a:gd name="T9" fmla="*/ 3144 h 3598"/>
                <a:gd name="T10" fmla="*/ 3987 w 5118"/>
                <a:gd name="T11" fmla="*/ 2955 h 3598"/>
                <a:gd name="T12" fmla="*/ 1436 w 5118"/>
                <a:gd name="T13" fmla="*/ 2920 h 3598"/>
                <a:gd name="T14" fmla="*/ 1273 w 5118"/>
                <a:gd name="T15" fmla="*/ 3055 h 3598"/>
                <a:gd name="T16" fmla="*/ 1295 w 5118"/>
                <a:gd name="T17" fmla="*/ 3269 h 3598"/>
                <a:gd name="T18" fmla="*/ 1483 w 5118"/>
                <a:gd name="T19" fmla="*/ 3370 h 3598"/>
                <a:gd name="T20" fmla="*/ 1670 w 5118"/>
                <a:gd name="T21" fmla="*/ 3269 h 3598"/>
                <a:gd name="T22" fmla="*/ 1692 w 5118"/>
                <a:gd name="T23" fmla="*/ 3055 h 3598"/>
                <a:gd name="T24" fmla="*/ 1529 w 5118"/>
                <a:gd name="T25" fmla="*/ 2920 h 3598"/>
                <a:gd name="T26" fmla="*/ 4037 w 5118"/>
                <a:gd name="T27" fmla="*/ 2725 h 3598"/>
                <a:gd name="T28" fmla="*/ 4253 w 5118"/>
                <a:gd name="T29" fmla="*/ 2914 h 3598"/>
                <a:gd name="T30" fmla="*/ 4310 w 5118"/>
                <a:gd name="T31" fmla="*/ 3204 h 3598"/>
                <a:gd name="T32" fmla="*/ 4181 w 5118"/>
                <a:gd name="T33" fmla="*/ 3465 h 3598"/>
                <a:gd name="T34" fmla="*/ 3922 w 5118"/>
                <a:gd name="T35" fmla="*/ 3594 h 3598"/>
                <a:gd name="T36" fmla="*/ 3631 w 5118"/>
                <a:gd name="T37" fmla="*/ 3536 h 3598"/>
                <a:gd name="T38" fmla="*/ 3441 w 5118"/>
                <a:gd name="T39" fmla="*/ 3321 h 3598"/>
                <a:gd name="T40" fmla="*/ 3421 w 5118"/>
                <a:gd name="T41" fmla="*/ 3023 h 3598"/>
                <a:gd name="T42" fmla="*/ 3583 w 5118"/>
                <a:gd name="T43" fmla="*/ 2784 h 3598"/>
                <a:gd name="T44" fmla="*/ 3860 w 5118"/>
                <a:gd name="T45" fmla="*/ 2689 h 3598"/>
                <a:gd name="T46" fmla="*/ 1712 w 5118"/>
                <a:gd name="T47" fmla="*/ 2751 h 3598"/>
                <a:gd name="T48" fmla="*/ 1901 w 5118"/>
                <a:gd name="T49" fmla="*/ 2967 h 3598"/>
                <a:gd name="T50" fmla="*/ 1922 w 5118"/>
                <a:gd name="T51" fmla="*/ 3263 h 3598"/>
                <a:gd name="T52" fmla="*/ 1760 w 5118"/>
                <a:gd name="T53" fmla="*/ 3504 h 3598"/>
                <a:gd name="T54" fmla="*/ 1483 w 5118"/>
                <a:gd name="T55" fmla="*/ 3598 h 3598"/>
                <a:gd name="T56" fmla="*/ 1205 w 5118"/>
                <a:gd name="T57" fmla="*/ 3504 h 3598"/>
                <a:gd name="T58" fmla="*/ 1044 w 5118"/>
                <a:gd name="T59" fmla="*/ 3263 h 3598"/>
                <a:gd name="T60" fmla="*/ 1064 w 5118"/>
                <a:gd name="T61" fmla="*/ 2967 h 3598"/>
                <a:gd name="T62" fmla="*/ 1253 w 5118"/>
                <a:gd name="T63" fmla="*/ 2751 h 3598"/>
                <a:gd name="T64" fmla="*/ 73 w 5118"/>
                <a:gd name="T65" fmla="*/ 2689 h 3598"/>
                <a:gd name="T66" fmla="*/ 927 w 5118"/>
                <a:gd name="T67" fmla="*/ 2916 h 3598"/>
                <a:gd name="T68" fmla="*/ 29 w 5118"/>
                <a:gd name="T69" fmla="*/ 3043 h 3598"/>
                <a:gd name="T70" fmla="*/ 3 w 5118"/>
                <a:gd name="T71" fmla="*/ 2739 h 3598"/>
                <a:gd name="T72" fmla="*/ 3407 w 5118"/>
                <a:gd name="T73" fmla="*/ 850 h 3598"/>
                <a:gd name="T74" fmla="*/ 3334 w 5118"/>
                <a:gd name="T75" fmla="*/ 923 h 3598"/>
                <a:gd name="T76" fmla="*/ 3384 w 5118"/>
                <a:gd name="T77" fmla="*/ 1498 h 3598"/>
                <a:gd name="T78" fmla="*/ 4377 w 5118"/>
                <a:gd name="T79" fmla="*/ 1472 h 3598"/>
                <a:gd name="T80" fmla="*/ 4022 w 5118"/>
                <a:gd name="T81" fmla="*/ 881 h 3598"/>
                <a:gd name="T82" fmla="*/ 3148 w 5118"/>
                <a:gd name="T83" fmla="*/ 453 h 3598"/>
                <a:gd name="T84" fmla="*/ 4085 w 5118"/>
                <a:gd name="T85" fmla="*/ 509 h 3598"/>
                <a:gd name="T86" fmla="*/ 4322 w 5118"/>
                <a:gd name="T87" fmla="*/ 710 h 3598"/>
                <a:gd name="T88" fmla="*/ 4864 w 5118"/>
                <a:gd name="T89" fmla="*/ 1627 h 3598"/>
                <a:gd name="T90" fmla="*/ 5089 w 5118"/>
                <a:gd name="T91" fmla="*/ 2703 h 3598"/>
                <a:gd name="T92" fmla="*/ 5115 w 5118"/>
                <a:gd name="T93" fmla="*/ 3006 h 3598"/>
                <a:gd name="T94" fmla="*/ 4454 w 5118"/>
                <a:gd name="T95" fmla="*/ 3057 h 3598"/>
                <a:gd name="T96" fmla="*/ 4304 w 5118"/>
                <a:gd name="T97" fmla="*/ 2739 h 3598"/>
                <a:gd name="T98" fmla="*/ 4006 w 5118"/>
                <a:gd name="T99" fmla="*/ 2561 h 3598"/>
                <a:gd name="T100" fmla="*/ 3646 w 5118"/>
                <a:gd name="T101" fmla="*/ 2582 h 3598"/>
                <a:gd name="T102" fmla="*/ 3372 w 5118"/>
                <a:gd name="T103" fmla="*/ 2795 h 3598"/>
                <a:gd name="T104" fmla="*/ 2077 w 5118"/>
                <a:gd name="T105" fmla="*/ 3057 h 3598"/>
                <a:gd name="T106" fmla="*/ 1925 w 5118"/>
                <a:gd name="T107" fmla="*/ 2737 h 3598"/>
                <a:gd name="T108" fmla="*/ 3018 w 5118"/>
                <a:gd name="T109" fmla="*/ 535 h 3598"/>
                <a:gd name="T110" fmla="*/ 3148 w 5118"/>
                <a:gd name="T111" fmla="*/ 453 h 3598"/>
                <a:gd name="T112" fmla="*/ 2697 w 5118"/>
                <a:gd name="T113" fmla="*/ 37 h 3598"/>
                <a:gd name="T114" fmla="*/ 2795 w 5118"/>
                <a:gd name="T115" fmla="*/ 220 h 3598"/>
                <a:gd name="T116" fmla="*/ 2744 w 5118"/>
                <a:gd name="T117" fmla="*/ 2466 h 3598"/>
                <a:gd name="T118" fmla="*/ 194 w 5118"/>
                <a:gd name="T119" fmla="*/ 2440 h 3598"/>
                <a:gd name="T120" fmla="*/ 197 w 5118"/>
                <a:gd name="T121" fmla="*/ 135 h 3598"/>
                <a:gd name="T122" fmla="*/ 355 w 5118"/>
                <a:gd name="T123" fmla="*/ 5 h 3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18" h="3598">
                  <a:moveTo>
                    <a:pt x="3860" y="2916"/>
                  </a:moveTo>
                  <a:lnTo>
                    <a:pt x="3814" y="2920"/>
                  </a:lnTo>
                  <a:lnTo>
                    <a:pt x="3772" y="2934"/>
                  </a:lnTo>
                  <a:lnTo>
                    <a:pt x="3733" y="2955"/>
                  </a:lnTo>
                  <a:lnTo>
                    <a:pt x="3699" y="2983"/>
                  </a:lnTo>
                  <a:lnTo>
                    <a:pt x="3673" y="3017"/>
                  </a:lnTo>
                  <a:lnTo>
                    <a:pt x="3651" y="3055"/>
                  </a:lnTo>
                  <a:lnTo>
                    <a:pt x="3637" y="3097"/>
                  </a:lnTo>
                  <a:lnTo>
                    <a:pt x="3634" y="3144"/>
                  </a:lnTo>
                  <a:lnTo>
                    <a:pt x="3637" y="3189"/>
                  </a:lnTo>
                  <a:lnTo>
                    <a:pt x="3651" y="3232"/>
                  </a:lnTo>
                  <a:lnTo>
                    <a:pt x="3673" y="3269"/>
                  </a:lnTo>
                  <a:lnTo>
                    <a:pt x="3699" y="3304"/>
                  </a:lnTo>
                  <a:lnTo>
                    <a:pt x="3733" y="3331"/>
                  </a:lnTo>
                  <a:lnTo>
                    <a:pt x="3772" y="3353"/>
                  </a:lnTo>
                  <a:lnTo>
                    <a:pt x="3814" y="3366"/>
                  </a:lnTo>
                  <a:lnTo>
                    <a:pt x="3860" y="3370"/>
                  </a:lnTo>
                  <a:lnTo>
                    <a:pt x="3907" y="3366"/>
                  </a:lnTo>
                  <a:lnTo>
                    <a:pt x="3949" y="3353"/>
                  </a:lnTo>
                  <a:lnTo>
                    <a:pt x="3987" y="3331"/>
                  </a:lnTo>
                  <a:lnTo>
                    <a:pt x="4022" y="3304"/>
                  </a:lnTo>
                  <a:lnTo>
                    <a:pt x="4049" y="3269"/>
                  </a:lnTo>
                  <a:lnTo>
                    <a:pt x="4070" y="3232"/>
                  </a:lnTo>
                  <a:lnTo>
                    <a:pt x="4084" y="3189"/>
                  </a:lnTo>
                  <a:lnTo>
                    <a:pt x="4088" y="3144"/>
                  </a:lnTo>
                  <a:lnTo>
                    <a:pt x="4084" y="3097"/>
                  </a:lnTo>
                  <a:lnTo>
                    <a:pt x="4070" y="3055"/>
                  </a:lnTo>
                  <a:lnTo>
                    <a:pt x="4049" y="3017"/>
                  </a:lnTo>
                  <a:lnTo>
                    <a:pt x="4022" y="2983"/>
                  </a:lnTo>
                  <a:lnTo>
                    <a:pt x="3987" y="2955"/>
                  </a:lnTo>
                  <a:lnTo>
                    <a:pt x="3949" y="2934"/>
                  </a:lnTo>
                  <a:lnTo>
                    <a:pt x="3907" y="2920"/>
                  </a:lnTo>
                  <a:lnTo>
                    <a:pt x="3860" y="2916"/>
                  </a:lnTo>
                  <a:close/>
                  <a:moveTo>
                    <a:pt x="1483" y="2916"/>
                  </a:moveTo>
                  <a:lnTo>
                    <a:pt x="1436" y="2920"/>
                  </a:lnTo>
                  <a:lnTo>
                    <a:pt x="1394" y="2934"/>
                  </a:lnTo>
                  <a:lnTo>
                    <a:pt x="1355" y="2955"/>
                  </a:lnTo>
                  <a:lnTo>
                    <a:pt x="1321" y="2983"/>
                  </a:lnTo>
                  <a:lnTo>
                    <a:pt x="1295" y="3017"/>
                  </a:lnTo>
                  <a:lnTo>
                    <a:pt x="1273" y="3055"/>
                  </a:lnTo>
                  <a:lnTo>
                    <a:pt x="1259" y="3097"/>
                  </a:lnTo>
                  <a:lnTo>
                    <a:pt x="1255" y="3144"/>
                  </a:lnTo>
                  <a:lnTo>
                    <a:pt x="1259" y="3189"/>
                  </a:lnTo>
                  <a:lnTo>
                    <a:pt x="1273" y="3232"/>
                  </a:lnTo>
                  <a:lnTo>
                    <a:pt x="1295" y="3269"/>
                  </a:lnTo>
                  <a:lnTo>
                    <a:pt x="1321" y="3304"/>
                  </a:lnTo>
                  <a:lnTo>
                    <a:pt x="1355" y="3331"/>
                  </a:lnTo>
                  <a:lnTo>
                    <a:pt x="1394" y="3353"/>
                  </a:lnTo>
                  <a:lnTo>
                    <a:pt x="1436" y="3366"/>
                  </a:lnTo>
                  <a:lnTo>
                    <a:pt x="1483" y="3370"/>
                  </a:lnTo>
                  <a:lnTo>
                    <a:pt x="1529" y="3366"/>
                  </a:lnTo>
                  <a:lnTo>
                    <a:pt x="1571" y="3353"/>
                  </a:lnTo>
                  <a:lnTo>
                    <a:pt x="1610" y="3331"/>
                  </a:lnTo>
                  <a:lnTo>
                    <a:pt x="1644" y="3304"/>
                  </a:lnTo>
                  <a:lnTo>
                    <a:pt x="1670" y="3269"/>
                  </a:lnTo>
                  <a:lnTo>
                    <a:pt x="1692" y="3232"/>
                  </a:lnTo>
                  <a:lnTo>
                    <a:pt x="1706" y="3189"/>
                  </a:lnTo>
                  <a:lnTo>
                    <a:pt x="1711" y="3144"/>
                  </a:lnTo>
                  <a:lnTo>
                    <a:pt x="1706" y="3097"/>
                  </a:lnTo>
                  <a:lnTo>
                    <a:pt x="1692" y="3055"/>
                  </a:lnTo>
                  <a:lnTo>
                    <a:pt x="1670" y="3017"/>
                  </a:lnTo>
                  <a:lnTo>
                    <a:pt x="1644" y="2983"/>
                  </a:lnTo>
                  <a:lnTo>
                    <a:pt x="1610" y="2955"/>
                  </a:lnTo>
                  <a:lnTo>
                    <a:pt x="1571" y="2934"/>
                  </a:lnTo>
                  <a:lnTo>
                    <a:pt x="1529" y="2920"/>
                  </a:lnTo>
                  <a:lnTo>
                    <a:pt x="1483" y="2916"/>
                  </a:lnTo>
                  <a:close/>
                  <a:moveTo>
                    <a:pt x="3860" y="2689"/>
                  </a:moveTo>
                  <a:lnTo>
                    <a:pt x="3922" y="2692"/>
                  </a:lnTo>
                  <a:lnTo>
                    <a:pt x="3981" y="2705"/>
                  </a:lnTo>
                  <a:lnTo>
                    <a:pt x="4037" y="2725"/>
                  </a:lnTo>
                  <a:lnTo>
                    <a:pt x="4090" y="2751"/>
                  </a:lnTo>
                  <a:lnTo>
                    <a:pt x="4138" y="2784"/>
                  </a:lnTo>
                  <a:lnTo>
                    <a:pt x="4181" y="2821"/>
                  </a:lnTo>
                  <a:lnTo>
                    <a:pt x="4220" y="2866"/>
                  </a:lnTo>
                  <a:lnTo>
                    <a:pt x="4253" y="2914"/>
                  </a:lnTo>
                  <a:lnTo>
                    <a:pt x="4279" y="2967"/>
                  </a:lnTo>
                  <a:lnTo>
                    <a:pt x="4299" y="3023"/>
                  </a:lnTo>
                  <a:lnTo>
                    <a:pt x="4310" y="3082"/>
                  </a:lnTo>
                  <a:lnTo>
                    <a:pt x="4315" y="3144"/>
                  </a:lnTo>
                  <a:lnTo>
                    <a:pt x="4310" y="3204"/>
                  </a:lnTo>
                  <a:lnTo>
                    <a:pt x="4299" y="3263"/>
                  </a:lnTo>
                  <a:lnTo>
                    <a:pt x="4279" y="3321"/>
                  </a:lnTo>
                  <a:lnTo>
                    <a:pt x="4253" y="3372"/>
                  </a:lnTo>
                  <a:lnTo>
                    <a:pt x="4220" y="3421"/>
                  </a:lnTo>
                  <a:lnTo>
                    <a:pt x="4181" y="3465"/>
                  </a:lnTo>
                  <a:lnTo>
                    <a:pt x="4138" y="3504"/>
                  </a:lnTo>
                  <a:lnTo>
                    <a:pt x="4090" y="3536"/>
                  </a:lnTo>
                  <a:lnTo>
                    <a:pt x="4037" y="3563"/>
                  </a:lnTo>
                  <a:lnTo>
                    <a:pt x="3981" y="3581"/>
                  </a:lnTo>
                  <a:lnTo>
                    <a:pt x="3922" y="3594"/>
                  </a:lnTo>
                  <a:lnTo>
                    <a:pt x="3860" y="3598"/>
                  </a:lnTo>
                  <a:lnTo>
                    <a:pt x="3798" y="3594"/>
                  </a:lnTo>
                  <a:lnTo>
                    <a:pt x="3739" y="3581"/>
                  </a:lnTo>
                  <a:lnTo>
                    <a:pt x="3683" y="3563"/>
                  </a:lnTo>
                  <a:lnTo>
                    <a:pt x="3631" y="3536"/>
                  </a:lnTo>
                  <a:lnTo>
                    <a:pt x="3583" y="3504"/>
                  </a:lnTo>
                  <a:lnTo>
                    <a:pt x="3539" y="3465"/>
                  </a:lnTo>
                  <a:lnTo>
                    <a:pt x="3500" y="3421"/>
                  </a:lnTo>
                  <a:lnTo>
                    <a:pt x="3468" y="3372"/>
                  </a:lnTo>
                  <a:lnTo>
                    <a:pt x="3441" y="3321"/>
                  </a:lnTo>
                  <a:lnTo>
                    <a:pt x="3421" y="3263"/>
                  </a:lnTo>
                  <a:lnTo>
                    <a:pt x="3410" y="3204"/>
                  </a:lnTo>
                  <a:lnTo>
                    <a:pt x="3406" y="3144"/>
                  </a:lnTo>
                  <a:lnTo>
                    <a:pt x="3410" y="3082"/>
                  </a:lnTo>
                  <a:lnTo>
                    <a:pt x="3421" y="3023"/>
                  </a:lnTo>
                  <a:lnTo>
                    <a:pt x="3441" y="2967"/>
                  </a:lnTo>
                  <a:lnTo>
                    <a:pt x="3468" y="2914"/>
                  </a:lnTo>
                  <a:lnTo>
                    <a:pt x="3500" y="2866"/>
                  </a:lnTo>
                  <a:lnTo>
                    <a:pt x="3539" y="2821"/>
                  </a:lnTo>
                  <a:lnTo>
                    <a:pt x="3583" y="2784"/>
                  </a:lnTo>
                  <a:lnTo>
                    <a:pt x="3631" y="2751"/>
                  </a:lnTo>
                  <a:lnTo>
                    <a:pt x="3683" y="2725"/>
                  </a:lnTo>
                  <a:lnTo>
                    <a:pt x="3739" y="2705"/>
                  </a:lnTo>
                  <a:lnTo>
                    <a:pt x="3798" y="2692"/>
                  </a:lnTo>
                  <a:lnTo>
                    <a:pt x="3860" y="2689"/>
                  </a:lnTo>
                  <a:close/>
                  <a:moveTo>
                    <a:pt x="1483" y="2689"/>
                  </a:moveTo>
                  <a:lnTo>
                    <a:pt x="1545" y="2692"/>
                  </a:lnTo>
                  <a:lnTo>
                    <a:pt x="1604" y="2705"/>
                  </a:lnTo>
                  <a:lnTo>
                    <a:pt x="1659" y="2725"/>
                  </a:lnTo>
                  <a:lnTo>
                    <a:pt x="1712" y="2751"/>
                  </a:lnTo>
                  <a:lnTo>
                    <a:pt x="1760" y="2784"/>
                  </a:lnTo>
                  <a:lnTo>
                    <a:pt x="1804" y="2821"/>
                  </a:lnTo>
                  <a:lnTo>
                    <a:pt x="1842" y="2866"/>
                  </a:lnTo>
                  <a:lnTo>
                    <a:pt x="1875" y="2914"/>
                  </a:lnTo>
                  <a:lnTo>
                    <a:pt x="1901" y="2967"/>
                  </a:lnTo>
                  <a:lnTo>
                    <a:pt x="1922" y="3023"/>
                  </a:lnTo>
                  <a:lnTo>
                    <a:pt x="1932" y="3082"/>
                  </a:lnTo>
                  <a:lnTo>
                    <a:pt x="1937" y="3144"/>
                  </a:lnTo>
                  <a:lnTo>
                    <a:pt x="1932" y="3204"/>
                  </a:lnTo>
                  <a:lnTo>
                    <a:pt x="1922" y="3263"/>
                  </a:lnTo>
                  <a:lnTo>
                    <a:pt x="1901" y="3321"/>
                  </a:lnTo>
                  <a:lnTo>
                    <a:pt x="1875" y="3372"/>
                  </a:lnTo>
                  <a:lnTo>
                    <a:pt x="1842" y="3421"/>
                  </a:lnTo>
                  <a:lnTo>
                    <a:pt x="1804" y="3465"/>
                  </a:lnTo>
                  <a:lnTo>
                    <a:pt x="1760" y="3504"/>
                  </a:lnTo>
                  <a:lnTo>
                    <a:pt x="1712" y="3536"/>
                  </a:lnTo>
                  <a:lnTo>
                    <a:pt x="1659" y="3563"/>
                  </a:lnTo>
                  <a:lnTo>
                    <a:pt x="1604" y="3581"/>
                  </a:lnTo>
                  <a:lnTo>
                    <a:pt x="1545" y="3594"/>
                  </a:lnTo>
                  <a:lnTo>
                    <a:pt x="1483" y="3598"/>
                  </a:lnTo>
                  <a:lnTo>
                    <a:pt x="1421" y="3594"/>
                  </a:lnTo>
                  <a:lnTo>
                    <a:pt x="1362" y="3581"/>
                  </a:lnTo>
                  <a:lnTo>
                    <a:pt x="1306" y="3563"/>
                  </a:lnTo>
                  <a:lnTo>
                    <a:pt x="1253" y="3536"/>
                  </a:lnTo>
                  <a:lnTo>
                    <a:pt x="1205" y="3504"/>
                  </a:lnTo>
                  <a:lnTo>
                    <a:pt x="1162" y="3465"/>
                  </a:lnTo>
                  <a:lnTo>
                    <a:pt x="1123" y="3421"/>
                  </a:lnTo>
                  <a:lnTo>
                    <a:pt x="1090" y="3372"/>
                  </a:lnTo>
                  <a:lnTo>
                    <a:pt x="1064" y="3321"/>
                  </a:lnTo>
                  <a:lnTo>
                    <a:pt x="1044" y="3263"/>
                  </a:lnTo>
                  <a:lnTo>
                    <a:pt x="1033" y="3204"/>
                  </a:lnTo>
                  <a:lnTo>
                    <a:pt x="1028" y="3144"/>
                  </a:lnTo>
                  <a:lnTo>
                    <a:pt x="1033" y="3082"/>
                  </a:lnTo>
                  <a:lnTo>
                    <a:pt x="1044" y="3023"/>
                  </a:lnTo>
                  <a:lnTo>
                    <a:pt x="1064" y="2967"/>
                  </a:lnTo>
                  <a:lnTo>
                    <a:pt x="1090" y="2914"/>
                  </a:lnTo>
                  <a:lnTo>
                    <a:pt x="1123" y="2866"/>
                  </a:lnTo>
                  <a:lnTo>
                    <a:pt x="1162" y="2821"/>
                  </a:lnTo>
                  <a:lnTo>
                    <a:pt x="1205" y="2784"/>
                  </a:lnTo>
                  <a:lnTo>
                    <a:pt x="1253" y="2751"/>
                  </a:lnTo>
                  <a:lnTo>
                    <a:pt x="1306" y="2725"/>
                  </a:lnTo>
                  <a:lnTo>
                    <a:pt x="1362" y="2705"/>
                  </a:lnTo>
                  <a:lnTo>
                    <a:pt x="1421" y="2692"/>
                  </a:lnTo>
                  <a:lnTo>
                    <a:pt x="1483" y="2689"/>
                  </a:lnTo>
                  <a:close/>
                  <a:moveTo>
                    <a:pt x="73" y="2689"/>
                  </a:moveTo>
                  <a:lnTo>
                    <a:pt x="1092" y="2689"/>
                  </a:lnTo>
                  <a:lnTo>
                    <a:pt x="1041" y="2737"/>
                  </a:lnTo>
                  <a:lnTo>
                    <a:pt x="996" y="2793"/>
                  </a:lnTo>
                  <a:lnTo>
                    <a:pt x="958" y="2852"/>
                  </a:lnTo>
                  <a:lnTo>
                    <a:pt x="927" y="2916"/>
                  </a:lnTo>
                  <a:lnTo>
                    <a:pt x="904" y="2984"/>
                  </a:lnTo>
                  <a:lnTo>
                    <a:pt x="889" y="3057"/>
                  </a:lnTo>
                  <a:lnTo>
                    <a:pt x="73" y="3057"/>
                  </a:lnTo>
                  <a:lnTo>
                    <a:pt x="50" y="3052"/>
                  </a:lnTo>
                  <a:lnTo>
                    <a:pt x="29" y="3043"/>
                  </a:lnTo>
                  <a:lnTo>
                    <a:pt x="14" y="3026"/>
                  </a:lnTo>
                  <a:lnTo>
                    <a:pt x="3" y="3006"/>
                  </a:lnTo>
                  <a:lnTo>
                    <a:pt x="0" y="2984"/>
                  </a:lnTo>
                  <a:lnTo>
                    <a:pt x="0" y="2762"/>
                  </a:lnTo>
                  <a:lnTo>
                    <a:pt x="3" y="2739"/>
                  </a:lnTo>
                  <a:lnTo>
                    <a:pt x="14" y="2719"/>
                  </a:lnTo>
                  <a:lnTo>
                    <a:pt x="29" y="2703"/>
                  </a:lnTo>
                  <a:lnTo>
                    <a:pt x="50" y="2692"/>
                  </a:lnTo>
                  <a:lnTo>
                    <a:pt x="73" y="2689"/>
                  </a:lnTo>
                  <a:close/>
                  <a:moveTo>
                    <a:pt x="3407" y="850"/>
                  </a:moveTo>
                  <a:lnTo>
                    <a:pt x="3384" y="855"/>
                  </a:lnTo>
                  <a:lnTo>
                    <a:pt x="3364" y="864"/>
                  </a:lnTo>
                  <a:lnTo>
                    <a:pt x="3348" y="879"/>
                  </a:lnTo>
                  <a:lnTo>
                    <a:pt x="3338" y="900"/>
                  </a:lnTo>
                  <a:lnTo>
                    <a:pt x="3334" y="923"/>
                  </a:lnTo>
                  <a:lnTo>
                    <a:pt x="3334" y="1428"/>
                  </a:lnTo>
                  <a:lnTo>
                    <a:pt x="3338" y="1452"/>
                  </a:lnTo>
                  <a:lnTo>
                    <a:pt x="3348" y="1472"/>
                  </a:lnTo>
                  <a:lnTo>
                    <a:pt x="3364" y="1487"/>
                  </a:lnTo>
                  <a:lnTo>
                    <a:pt x="3384" y="1498"/>
                  </a:lnTo>
                  <a:lnTo>
                    <a:pt x="3407" y="1501"/>
                  </a:lnTo>
                  <a:lnTo>
                    <a:pt x="4318" y="1501"/>
                  </a:lnTo>
                  <a:lnTo>
                    <a:pt x="4341" y="1497"/>
                  </a:lnTo>
                  <a:lnTo>
                    <a:pt x="4361" y="1487"/>
                  </a:lnTo>
                  <a:lnTo>
                    <a:pt x="4377" y="1472"/>
                  </a:lnTo>
                  <a:lnTo>
                    <a:pt x="4386" y="1452"/>
                  </a:lnTo>
                  <a:lnTo>
                    <a:pt x="4391" y="1430"/>
                  </a:lnTo>
                  <a:lnTo>
                    <a:pt x="4388" y="1408"/>
                  </a:lnTo>
                  <a:lnTo>
                    <a:pt x="4377" y="1387"/>
                  </a:lnTo>
                  <a:lnTo>
                    <a:pt x="4022" y="881"/>
                  </a:lnTo>
                  <a:lnTo>
                    <a:pt x="4006" y="864"/>
                  </a:lnTo>
                  <a:lnTo>
                    <a:pt x="3984" y="855"/>
                  </a:lnTo>
                  <a:lnTo>
                    <a:pt x="3963" y="850"/>
                  </a:lnTo>
                  <a:lnTo>
                    <a:pt x="3407" y="850"/>
                  </a:lnTo>
                  <a:close/>
                  <a:moveTo>
                    <a:pt x="3148" y="453"/>
                  </a:moveTo>
                  <a:lnTo>
                    <a:pt x="3839" y="453"/>
                  </a:lnTo>
                  <a:lnTo>
                    <a:pt x="3902" y="458"/>
                  </a:lnTo>
                  <a:lnTo>
                    <a:pt x="3966" y="467"/>
                  </a:lnTo>
                  <a:lnTo>
                    <a:pt x="4026" y="484"/>
                  </a:lnTo>
                  <a:lnTo>
                    <a:pt x="4085" y="509"/>
                  </a:lnTo>
                  <a:lnTo>
                    <a:pt x="4139" y="538"/>
                  </a:lnTo>
                  <a:lnTo>
                    <a:pt x="4192" y="572"/>
                  </a:lnTo>
                  <a:lnTo>
                    <a:pt x="4240" y="614"/>
                  </a:lnTo>
                  <a:lnTo>
                    <a:pt x="4284" y="659"/>
                  </a:lnTo>
                  <a:lnTo>
                    <a:pt x="4322" y="710"/>
                  </a:lnTo>
                  <a:lnTo>
                    <a:pt x="4767" y="1370"/>
                  </a:lnTo>
                  <a:lnTo>
                    <a:pt x="4803" y="1428"/>
                  </a:lnTo>
                  <a:lnTo>
                    <a:pt x="4831" y="1492"/>
                  </a:lnTo>
                  <a:lnTo>
                    <a:pt x="4851" y="1559"/>
                  </a:lnTo>
                  <a:lnTo>
                    <a:pt x="4864" y="1627"/>
                  </a:lnTo>
                  <a:lnTo>
                    <a:pt x="4867" y="1697"/>
                  </a:lnTo>
                  <a:lnTo>
                    <a:pt x="4867" y="2689"/>
                  </a:lnTo>
                  <a:lnTo>
                    <a:pt x="5045" y="2689"/>
                  </a:lnTo>
                  <a:lnTo>
                    <a:pt x="5068" y="2692"/>
                  </a:lnTo>
                  <a:lnTo>
                    <a:pt x="5089" y="2703"/>
                  </a:lnTo>
                  <a:lnTo>
                    <a:pt x="5104" y="2719"/>
                  </a:lnTo>
                  <a:lnTo>
                    <a:pt x="5115" y="2739"/>
                  </a:lnTo>
                  <a:lnTo>
                    <a:pt x="5118" y="2762"/>
                  </a:lnTo>
                  <a:lnTo>
                    <a:pt x="5118" y="2984"/>
                  </a:lnTo>
                  <a:lnTo>
                    <a:pt x="5115" y="3006"/>
                  </a:lnTo>
                  <a:lnTo>
                    <a:pt x="5104" y="3026"/>
                  </a:lnTo>
                  <a:lnTo>
                    <a:pt x="5089" y="3043"/>
                  </a:lnTo>
                  <a:lnTo>
                    <a:pt x="5068" y="3052"/>
                  </a:lnTo>
                  <a:lnTo>
                    <a:pt x="5045" y="3057"/>
                  </a:lnTo>
                  <a:lnTo>
                    <a:pt x="4454" y="3057"/>
                  </a:lnTo>
                  <a:lnTo>
                    <a:pt x="4439" y="2986"/>
                  </a:lnTo>
                  <a:lnTo>
                    <a:pt x="4415" y="2917"/>
                  </a:lnTo>
                  <a:lnTo>
                    <a:pt x="4386" y="2854"/>
                  </a:lnTo>
                  <a:lnTo>
                    <a:pt x="4349" y="2795"/>
                  </a:lnTo>
                  <a:lnTo>
                    <a:pt x="4304" y="2739"/>
                  </a:lnTo>
                  <a:lnTo>
                    <a:pt x="4254" y="2691"/>
                  </a:lnTo>
                  <a:lnTo>
                    <a:pt x="4198" y="2648"/>
                  </a:lnTo>
                  <a:lnTo>
                    <a:pt x="4139" y="2612"/>
                  </a:lnTo>
                  <a:lnTo>
                    <a:pt x="4074" y="2582"/>
                  </a:lnTo>
                  <a:lnTo>
                    <a:pt x="4006" y="2561"/>
                  </a:lnTo>
                  <a:lnTo>
                    <a:pt x="3935" y="2547"/>
                  </a:lnTo>
                  <a:lnTo>
                    <a:pt x="3860" y="2542"/>
                  </a:lnTo>
                  <a:lnTo>
                    <a:pt x="3786" y="2547"/>
                  </a:lnTo>
                  <a:lnTo>
                    <a:pt x="3714" y="2561"/>
                  </a:lnTo>
                  <a:lnTo>
                    <a:pt x="3646" y="2582"/>
                  </a:lnTo>
                  <a:lnTo>
                    <a:pt x="3581" y="2612"/>
                  </a:lnTo>
                  <a:lnTo>
                    <a:pt x="3522" y="2648"/>
                  </a:lnTo>
                  <a:lnTo>
                    <a:pt x="3466" y="2691"/>
                  </a:lnTo>
                  <a:lnTo>
                    <a:pt x="3417" y="2739"/>
                  </a:lnTo>
                  <a:lnTo>
                    <a:pt x="3372" y="2795"/>
                  </a:lnTo>
                  <a:lnTo>
                    <a:pt x="3334" y="2854"/>
                  </a:lnTo>
                  <a:lnTo>
                    <a:pt x="3305" y="2917"/>
                  </a:lnTo>
                  <a:lnTo>
                    <a:pt x="3282" y="2986"/>
                  </a:lnTo>
                  <a:lnTo>
                    <a:pt x="3266" y="3057"/>
                  </a:lnTo>
                  <a:lnTo>
                    <a:pt x="2077" y="3057"/>
                  </a:lnTo>
                  <a:lnTo>
                    <a:pt x="2061" y="2984"/>
                  </a:lnTo>
                  <a:lnTo>
                    <a:pt x="2038" y="2916"/>
                  </a:lnTo>
                  <a:lnTo>
                    <a:pt x="2007" y="2852"/>
                  </a:lnTo>
                  <a:lnTo>
                    <a:pt x="1970" y="2793"/>
                  </a:lnTo>
                  <a:lnTo>
                    <a:pt x="1925" y="2737"/>
                  </a:lnTo>
                  <a:lnTo>
                    <a:pt x="1873" y="2689"/>
                  </a:lnTo>
                  <a:lnTo>
                    <a:pt x="3003" y="2689"/>
                  </a:lnTo>
                  <a:lnTo>
                    <a:pt x="3003" y="600"/>
                  </a:lnTo>
                  <a:lnTo>
                    <a:pt x="3007" y="566"/>
                  </a:lnTo>
                  <a:lnTo>
                    <a:pt x="3018" y="535"/>
                  </a:lnTo>
                  <a:lnTo>
                    <a:pt x="3035" y="509"/>
                  </a:lnTo>
                  <a:lnTo>
                    <a:pt x="3058" y="485"/>
                  </a:lnTo>
                  <a:lnTo>
                    <a:pt x="3085" y="468"/>
                  </a:lnTo>
                  <a:lnTo>
                    <a:pt x="3116" y="458"/>
                  </a:lnTo>
                  <a:lnTo>
                    <a:pt x="3148" y="453"/>
                  </a:lnTo>
                  <a:close/>
                  <a:moveTo>
                    <a:pt x="399" y="0"/>
                  </a:moveTo>
                  <a:lnTo>
                    <a:pt x="2575" y="0"/>
                  </a:lnTo>
                  <a:lnTo>
                    <a:pt x="2619" y="5"/>
                  </a:lnTo>
                  <a:lnTo>
                    <a:pt x="2660" y="17"/>
                  </a:lnTo>
                  <a:lnTo>
                    <a:pt x="2697" y="37"/>
                  </a:lnTo>
                  <a:lnTo>
                    <a:pt x="2730" y="65"/>
                  </a:lnTo>
                  <a:lnTo>
                    <a:pt x="2758" y="98"/>
                  </a:lnTo>
                  <a:lnTo>
                    <a:pt x="2778" y="135"/>
                  </a:lnTo>
                  <a:lnTo>
                    <a:pt x="2790" y="175"/>
                  </a:lnTo>
                  <a:lnTo>
                    <a:pt x="2795" y="220"/>
                  </a:lnTo>
                  <a:lnTo>
                    <a:pt x="2795" y="2398"/>
                  </a:lnTo>
                  <a:lnTo>
                    <a:pt x="2790" y="2420"/>
                  </a:lnTo>
                  <a:lnTo>
                    <a:pt x="2781" y="2440"/>
                  </a:lnTo>
                  <a:lnTo>
                    <a:pt x="2764" y="2457"/>
                  </a:lnTo>
                  <a:lnTo>
                    <a:pt x="2744" y="2466"/>
                  </a:lnTo>
                  <a:lnTo>
                    <a:pt x="2722" y="2471"/>
                  </a:lnTo>
                  <a:lnTo>
                    <a:pt x="253" y="2471"/>
                  </a:lnTo>
                  <a:lnTo>
                    <a:pt x="230" y="2466"/>
                  </a:lnTo>
                  <a:lnTo>
                    <a:pt x="209" y="2457"/>
                  </a:lnTo>
                  <a:lnTo>
                    <a:pt x="194" y="2440"/>
                  </a:lnTo>
                  <a:lnTo>
                    <a:pt x="183" y="2420"/>
                  </a:lnTo>
                  <a:lnTo>
                    <a:pt x="180" y="2398"/>
                  </a:lnTo>
                  <a:lnTo>
                    <a:pt x="180" y="220"/>
                  </a:lnTo>
                  <a:lnTo>
                    <a:pt x="185" y="175"/>
                  </a:lnTo>
                  <a:lnTo>
                    <a:pt x="197" y="135"/>
                  </a:lnTo>
                  <a:lnTo>
                    <a:pt x="217" y="98"/>
                  </a:lnTo>
                  <a:lnTo>
                    <a:pt x="243" y="65"/>
                  </a:lnTo>
                  <a:lnTo>
                    <a:pt x="276" y="37"/>
                  </a:lnTo>
                  <a:lnTo>
                    <a:pt x="313" y="17"/>
                  </a:lnTo>
                  <a:lnTo>
                    <a:pt x="355" y="5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sp>
        <p:nvSpPr>
          <p:cNvPr id="273" name="5. Source"/>
          <p:cNvSpPr>
            <a:spLocks noChangeArrowheads="1"/>
          </p:cNvSpPr>
          <p:nvPr/>
        </p:nvSpPr>
        <p:spPr bwMode="gray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GB" sz="800" dirty="0">
                <a:solidFill>
                  <a:schemeClr val="accent6"/>
                </a:solidFill>
                <a:latin typeface="+mn-lt"/>
              </a:rPr>
              <a:t>SOURCE: McKinsey Energy Insights’ Global Energy Perspective, July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4556125" y="2303266"/>
            <a:ext cx="443858" cy="443858"/>
            <a:chOff x="412750" y="2490788"/>
            <a:chExt cx="443858" cy="443858"/>
          </a:xfrm>
        </p:grpSpPr>
        <p:sp>
          <p:nvSpPr>
            <p:cNvPr id="749" name="Oval 62"/>
            <p:cNvSpPr txBox="1"/>
            <p:nvPr>
              <p:custDataLst>
                <p:tags r:id="rId36"/>
              </p:custDataLst>
            </p:nvPr>
          </p:nvSpPr>
          <p:spPr>
            <a:xfrm>
              <a:off x="412750" y="2490788"/>
              <a:ext cx="443858" cy="443858"/>
            </a:xfrm>
            <a:prstGeom prst="ellipse">
              <a:avLst/>
            </a:prstGeom>
            <a:solidFill>
              <a:schemeClr val="accent5"/>
            </a:solidFill>
            <a:ln w="15875">
              <a:noFill/>
            </a:ln>
          </p:spPr>
          <p:txBody>
            <a:bodyPr vert="horz" wrap="square" lIns="3810" tIns="0" rIns="3810" bIns="0" rtlCol="0" anchor="ctr" anchorCtr="1">
              <a:no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endParaRPr lang="en-GB" dirty="0"/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487126" y="2544850"/>
              <a:ext cx="291010" cy="331003"/>
              <a:chOff x="15563851" y="269875"/>
              <a:chExt cx="5094288" cy="5794375"/>
            </a:xfrm>
            <a:solidFill>
              <a:schemeClr val="bg1"/>
            </a:solidFill>
          </p:grpSpPr>
          <p:sp>
            <p:nvSpPr>
              <p:cNvPr id="9" name="Freeform 227"/>
              <p:cNvSpPr>
                <a:spLocks noEditPoints="1"/>
              </p:cNvSpPr>
              <p:nvPr/>
            </p:nvSpPr>
            <p:spPr bwMode="auto">
              <a:xfrm>
                <a:off x="18316576" y="2012950"/>
                <a:ext cx="2341563" cy="4051300"/>
              </a:xfrm>
              <a:custGeom>
                <a:avLst/>
                <a:gdLst>
                  <a:gd name="T0" fmla="*/ 163 w 1475"/>
                  <a:gd name="T1" fmla="*/ 756 h 2552"/>
                  <a:gd name="T2" fmla="*/ 0 w 1475"/>
                  <a:gd name="T3" fmla="*/ 850 h 2552"/>
                  <a:gd name="T4" fmla="*/ 0 w 1475"/>
                  <a:gd name="T5" fmla="*/ 2552 h 2552"/>
                  <a:gd name="T6" fmla="*/ 1475 w 1475"/>
                  <a:gd name="T7" fmla="*/ 1702 h 2552"/>
                  <a:gd name="T8" fmla="*/ 1475 w 1475"/>
                  <a:gd name="T9" fmla="*/ 0 h 2552"/>
                  <a:gd name="T10" fmla="*/ 163 w 1475"/>
                  <a:gd name="T11" fmla="*/ 756 h 2552"/>
                  <a:gd name="T12" fmla="*/ 163 w 1475"/>
                  <a:gd name="T13" fmla="*/ 756 h 2552"/>
                  <a:gd name="T14" fmla="*/ 163 w 1475"/>
                  <a:gd name="T15" fmla="*/ 756 h 2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5" h="2552">
                    <a:moveTo>
                      <a:pt x="163" y="756"/>
                    </a:moveTo>
                    <a:lnTo>
                      <a:pt x="0" y="850"/>
                    </a:lnTo>
                    <a:lnTo>
                      <a:pt x="0" y="2552"/>
                    </a:lnTo>
                    <a:lnTo>
                      <a:pt x="1475" y="1702"/>
                    </a:lnTo>
                    <a:lnTo>
                      <a:pt x="1475" y="0"/>
                    </a:lnTo>
                    <a:lnTo>
                      <a:pt x="163" y="756"/>
                    </a:lnTo>
                    <a:close/>
                    <a:moveTo>
                      <a:pt x="163" y="756"/>
                    </a:moveTo>
                    <a:lnTo>
                      <a:pt x="163" y="7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" name="Freeform 228"/>
              <p:cNvSpPr>
                <a:spLocks noEditPoints="1"/>
              </p:cNvSpPr>
              <p:nvPr/>
            </p:nvSpPr>
            <p:spPr bwMode="auto">
              <a:xfrm>
                <a:off x="18316576" y="2012950"/>
                <a:ext cx="2341563" cy="4051300"/>
              </a:xfrm>
              <a:custGeom>
                <a:avLst/>
                <a:gdLst>
                  <a:gd name="T0" fmla="*/ 163 w 1475"/>
                  <a:gd name="T1" fmla="*/ 756 h 2552"/>
                  <a:gd name="T2" fmla="*/ 0 w 1475"/>
                  <a:gd name="T3" fmla="*/ 850 h 2552"/>
                  <a:gd name="T4" fmla="*/ 0 w 1475"/>
                  <a:gd name="T5" fmla="*/ 2552 h 2552"/>
                  <a:gd name="T6" fmla="*/ 1475 w 1475"/>
                  <a:gd name="T7" fmla="*/ 1702 h 2552"/>
                  <a:gd name="T8" fmla="*/ 1475 w 1475"/>
                  <a:gd name="T9" fmla="*/ 0 h 2552"/>
                  <a:gd name="T10" fmla="*/ 163 w 1475"/>
                  <a:gd name="T11" fmla="*/ 756 h 2552"/>
                  <a:gd name="T12" fmla="*/ 163 w 1475"/>
                  <a:gd name="T13" fmla="*/ 756 h 2552"/>
                  <a:gd name="T14" fmla="*/ 163 w 1475"/>
                  <a:gd name="T15" fmla="*/ 756 h 2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75" h="2552">
                    <a:moveTo>
                      <a:pt x="163" y="756"/>
                    </a:moveTo>
                    <a:lnTo>
                      <a:pt x="0" y="850"/>
                    </a:lnTo>
                    <a:lnTo>
                      <a:pt x="0" y="2552"/>
                    </a:lnTo>
                    <a:lnTo>
                      <a:pt x="1475" y="1702"/>
                    </a:lnTo>
                    <a:lnTo>
                      <a:pt x="1475" y="0"/>
                    </a:lnTo>
                    <a:lnTo>
                      <a:pt x="163" y="756"/>
                    </a:lnTo>
                    <a:moveTo>
                      <a:pt x="163" y="756"/>
                    </a:moveTo>
                    <a:lnTo>
                      <a:pt x="163" y="756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" name="Freeform 229"/>
              <p:cNvSpPr>
                <a:spLocks noEditPoints="1"/>
              </p:cNvSpPr>
              <p:nvPr/>
            </p:nvSpPr>
            <p:spPr bwMode="auto">
              <a:xfrm>
                <a:off x="15695613" y="269875"/>
                <a:ext cx="3305175" cy="1909763"/>
              </a:xfrm>
              <a:custGeom>
                <a:avLst/>
                <a:gdLst>
                  <a:gd name="T0" fmla="*/ 2082 w 2082"/>
                  <a:gd name="T1" fmla="*/ 329 h 1203"/>
                  <a:gd name="T2" fmla="*/ 1516 w 2082"/>
                  <a:gd name="T3" fmla="*/ 0 h 1203"/>
                  <a:gd name="T4" fmla="*/ 0 w 2082"/>
                  <a:gd name="T5" fmla="*/ 874 h 1203"/>
                  <a:gd name="T6" fmla="*/ 569 w 2082"/>
                  <a:gd name="T7" fmla="*/ 1203 h 1203"/>
                  <a:gd name="T8" fmla="*/ 2082 w 2082"/>
                  <a:gd name="T9" fmla="*/ 329 h 1203"/>
                  <a:gd name="T10" fmla="*/ 2082 w 2082"/>
                  <a:gd name="T11" fmla="*/ 329 h 1203"/>
                  <a:gd name="T12" fmla="*/ 2082 w 2082"/>
                  <a:gd name="T13" fmla="*/ 329 h 1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2" h="1203">
                    <a:moveTo>
                      <a:pt x="2082" y="329"/>
                    </a:moveTo>
                    <a:lnTo>
                      <a:pt x="1516" y="0"/>
                    </a:lnTo>
                    <a:lnTo>
                      <a:pt x="0" y="874"/>
                    </a:lnTo>
                    <a:lnTo>
                      <a:pt x="569" y="1203"/>
                    </a:lnTo>
                    <a:lnTo>
                      <a:pt x="2082" y="329"/>
                    </a:lnTo>
                    <a:close/>
                    <a:moveTo>
                      <a:pt x="2082" y="329"/>
                    </a:moveTo>
                    <a:lnTo>
                      <a:pt x="2082" y="3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" name="Freeform 230"/>
              <p:cNvSpPr>
                <a:spLocks noEditPoints="1"/>
              </p:cNvSpPr>
              <p:nvPr/>
            </p:nvSpPr>
            <p:spPr bwMode="auto">
              <a:xfrm>
                <a:off x="15695613" y="269875"/>
                <a:ext cx="3305175" cy="1909763"/>
              </a:xfrm>
              <a:custGeom>
                <a:avLst/>
                <a:gdLst>
                  <a:gd name="T0" fmla="*/ 2082 w 2082"/>
                  <a:gd name="T1" fmla="*/ 329 h 1203"/>
                  <a:gd name="T2" fmla="*/ 1516 w 2082"/>
                  <a:gd name="T3" fmla="*/ 0 h 1203"/>
                  <a:gd name="T4" fmla="*/ 0 w 2082"/>
                  <a:gd name="T5" fmla="*/ 874 h 1203"/>
                  <a:gd name="T6" fmla="*/ 569 w 2082"/>
                  <a:gd name="T7" fmla="*/ 1203 h 1203"/>
                  <a:gd name="T8" fmla="*/ 2082 w 2082"/>
                  <a:gd name="T9" fmla="*/ 329 h 1203"/>
                  <a:gd name="T10" fmla="*/ 2082 w 2082"/>
                  <a:gd name="T11" fmla="*/ 329 h 1203"/>
                  <a:gd name="T12" fmla="*/ 2082 w 2082"/>
                  <a:gd name="T13" fmla="*/ 329 h 1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82" h="1203">
                    <a:moveTo>
                      <a:pt x="2082" y="329"/>
                    </a:moveTo>
                    <a:lnTo>
                      <a:pt x="1516" y="0"/>
                    </a:lnTo>
                    <a:lnTo>
                      <a:pt x="0" y="874"/>
                    </a:lnTo>
                    <a:lnTo>
                      <a:pt x="569" y="1203"/>
                    </a:lnTo>
                    <a:lnTo>
                      <a:pt x="2082" y="329"/>
                    </a:lnTo>
                    <a:moveTo>
                      <a:pt x="2082" y="329"/>
                    </a:moveTo>
                    <a:lnTo>
                      <a:pt x="2082" y="329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" name="Freeform 231"/>
              <p:cNvSpPr>
                <a:spLocks noEditPoints="1"/>
              </p:cNvSpPr>
              <p:nvPr/>
            </p:nvSpPr>
            <p:spPr bwMode="auto">
              <a:xfrm>
                <a:off x="17064038" y="1066800"/>
                <a:ext cx="3440113" cy="1979613"/>
              </a:xfrm>
              <a:custGeom>
                <a:avLst/>
                <a:gdLst>
                  <a:gd name="T0" fmla="*/ 2167 w 2167"/>
                  <a:gd name="T1" fmla="*/ 372 h 1247"/>
                  <a:gd name="T2" fmla="*/ 1514 w 2167"/>
                  <a:gd name="T3" fmla="*/ 0 h 1247"/>
                  <a:gd name="T4" fmla="*/ 0 w 2167"/>
                  <a:gd name="T5" fmla="*/ 873 h 1247"/>
                  <a:gd name="T6" fmla="*/ 86 w 2167"/>
                  <a:gd name="T7" fmla="*/ 918 h 1247"/>
                  <a:gd name="T8" fmla="*/ 654 w 2167"/>
                  <a:gd name="T9" fmla="*/ 1247 h 1247"/>
                  <a:gd name="T10" fmla="*/ 1218 w 2167"/>
                  <a:gd name="T11" fmla="*/ 921 h 1247"/>
                  <a:gd name="T12" fmla="*/ 2167 w 2167"/>
                  <a:gd name="T13" fmla="*/ 372 h 1247"/>
                  <a:gd name="T14" fmla="*/ 2167 w 2167"/>
                  <a:gd name="T15" fmla="*/ 372 h 1247"/>
                  <a:gd name="T16" fmla="*/ 2167 w 2167"/>
                  <a:gd name="T17" fmla="*/ 372 h 1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7" h="1247">
                    <a:moveTo>
                      <a:pt x="2167" y="372"/>
                    </a:moveTo>
                    <a:lnTo>
                      <a:pt x="1514" y="0"/>
                    </a:lnTo>
                    <a:lnTo>
                      <a:pt x="0" y="873"/>
                    </a:lnTo>
                    <a:lnTo>
                      <a:pt x="86" y="918"/>
                    </a:lnTo>
                    <a:lnTo>
                      <a:pt x="654" y="1247"/>
                    </a:lnTo>
                    <a:lnTo>
                      <a:pt x="1218" y="921"/>
                    </a:lnTo>
                    <a:lnTo>
                      <a:pt x="2167" y="372"/>
                    </a:lnTo>
                    <a:close/>
                    <a:moveTo>
                      <a:pt x="2167" y="372"/>
                    </a:moveTo>
                    <a:lnTo>
                      <a:pt x="2167" y="3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" name="Freeform 232"/>
              <p:cNvSpPr>
                <a:spLocks noEditPoints="1"/>
              </p:cNvSpPr>
              <p:nvPr/>
            </p:nvSpPr>
            <p:spPr bwMode="auto">
              <a:xfrm>
                <a:off x="17064038" y="1066800"/>
                <a:ext cx="3440113" cy="1979613"/>
              </a:xfrm>
              <a:custGeom>
                <a:avLst/>
                <a:gdLst>
                  <a:gd name="T0" fmla="*/ 2167 w 2167"/>
                  <a:gd name="T1" fmla="*/ 372 h 1247"/>
                  <a:gd name="T2" fmla="*/ 1514 w 2167"/>
                  <a:gd name="T3" fmla="*/ 0 h 1247"/>
                  <a:gd name="T4" fmla="*/ 0 w 2167"/>
                  <a:gd name="T5" fmla="*/ 873 h 1247"/>
                  <a:gd name="T6" fmla="*/ 86 w 2167"/>
                  <a:gd name="T7" fmla="*/ 918 h 1247"/>
                  <a:gd name="T8" fmla="*/ 654 w 2167"/>
                  <a:gd name="T9" fmla="*/ 1247 h 1247"/>
                  <a:gd name="T10" fmla="*/ 1218 w 2167"/>
                  <a:gd name="T11" fmla="*/ 921 h 1247"/>
                  <a:gd name="T12" fmla="*/ 2167 w 2167"/>
                  <a:gd name="T13" fmla="*/ 372 h 1247"/>
                  <a:gd name="T14" fmla="*/ 2167 w 2167"/>
                  <a:gd name="T15" fmla="*/ 372 h 1247"/>
                  <a:gd name="T16" fmla="*/ 2167 w 2167"/>
                  <a:gd name="T17" fmla="*/ 372 h 1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67" h="1247">
                    <a:moveTo>
                      <a:pt x="2167" y="372"/>
                    </a:moveTo>
                    <a:lnTo>
                      <a:pt x="1514" y="0"/>
                    </a:lnTo>
                    <a:lnTo>
                      <a:pt x="0" y="873"/>
                    </a:lnTo>
                    <a:lnTo>
                      <a:pt x="86" y="918"/>
                    </a:lnTo>
                    <a:lnTo>
                      <a:pt x="654" y="1247"/>
                    </a:lnTo>
                    <a:lnTo>
                      <a:pt x="1218" y="921"/>
                    </a:lnTo>
                    <a:lnTo>
                      <a:pt x="2167" y="372"/>
                    </a:lnTo>
                    <a:moveTo>
                      <a:pt x="2167" y="372"/>
                    </a:moveTo>
                    <a:lnTo>
                      <a:pt x="2167" y="372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233"/>
              <p:cNvSpPr>
                <a:spLocks noEditPoints="1"/>
              </p:cNvSpPr>
              <p:nvPr/>
            </p:nvSpPr>
            <p:spPr bwMode="auto">
              <a:xfrm>
                <a:off x="15563851" y="2028825"/>
                <a:ext cx="2324100" cy="4024313"/>
              </a:xfrm>
              <a:custGeom>
                <a:avLst/>
                <a:gdLst>
                  <a:gd name="T0" fmla="*/ 832 w 1464"/>
                  <a:gd name="T1" fmla="*/ 895 h 2535"/>
                  <a:gd name="T2" fmla="*/ 559 w 1464"/>
                  <a:gd name="T3" fmla="*/ 755 h 2535"/>
                  <a:gd name="T4" fmla="*/ 559 w 1464"/>
                  <a:gd name="T5" fmla="*/ 322 h 2535"/>
                  <a:gd name="T6" fmla="*/ 0 w 1464"/>
                  <a:gd name="T7" fmla="*/ 0 h 2535"/>
                  <a:gd name="T8" fmla="*/ 0 w 1464"/>
                  <a:gd name="T9" fmla="*/ 1690 h 2535"/>
                  <a:gd name="T10" fmla="*/ 1464 w 1464"/>
                  <a:gd name="T11" fmla="*/ 2535 h 2535"/>
                  <a:gd name="T12" fmla="*/ 1464 w 1464"/>
                  <a:gd name="T13" fmla="*/ 845 h 2535"/>
                  <a:gd name="T14" fmla="*/ 832 w 1464"/>
                  <a:gd name="T15" fmla="*/ 480 h 2535"/>
                  <a:gd name="T16" fmla="*/ 832 w 1464"/>
                  <a:gd name="T17" fmla="*/ 895 h 2535"/>
                  <a:gd name="T18" fmla="*/ 832 w 1464"/>
                  <a:gd name="T19" fmla="*/ 895 h 2535"/>
                  <a:gd name="T20" fmla="*/ 832 w 1464"/>
                  <a:gd name="T21" fmla="*/ 895 h 2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64" h="2535">
                    <a:moveTo>
                      <a:pt x="832" y="895"/>
                    </a:moveTo>
                    <a:lnTo>
                      <a:pt x="559" y="755"/>
                    </a:lnTo>
                    <a:lnTo>
                      <a:pt x="559" y="322"/>
                    </a:lnTo>
                    <a:lnTo>
                      <a:pt x="0" y="0"/>
                    </a:lnTo>
                    <a:lnTo>
                      <a:pt x="0" y="1690"/>
                    </a:lnTo>
                    <a:lnTo>
                      <a:pt x="1464" y="2535"/>
                    </a:lnTo>
                    <a:lnTo>
                      <a:pt x="1464" y="845"/>
                    </a:lnTo>
                    <a:lnTo>
                      <a:pt x="832" y="480"/>
                    </a:lnTo>
                    <a:lnTo>
                      <a:pt x="832" y="895"/>
                    </a:lnTo>
                    <a:close/>
                    <a:moveTo>
                      <a:pt x="832" y="895"/>
                    </a:moveTo>
                    <a:lnTo>
                      <a:pt x="832" y="8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" name="Freeform 234"/>
              <p:cNvSpPr>
                <a:spLocks noEditPoints="1"/>
              </p:cNvSpPr>
              <p:nvPr/>
            </p:nvSpPr>
            <p:spPr bwMode="auto">
              <a:xfrm>
                <a:off x="15563851" y="2028825"/>
                <a:ext cx="2324100" cy="4024313"/>
              </a:xfrm>
              <a:custGeom>
                <a:avLst/>
                <a:gdLst>
                  <a:gd name="T0" fmla="*/ 832 w 1464"/>
                  <a:gd name="T1" fmla="*/ 895 h 2535"/>
                  <a:gd name="T2" fmla="*/ 559 w 1464"/>
                  <a:gd name="T3" fmla="*/ 755 h 2535"/>
                  <a:gd name="T4" fmla="*/ 559 w 1464"/>
                  <a:gd name="T5" fmla="*/ 322 h 2535"/>
                  <a:gd name="T6" fmla="*/ 0 w 1464"/>
                  <a:gd name="T7" fmla="*/ 0 h 2535"/>
                  <a:gd name="T8" fmla="*/ 0 w 1464"/>
                  <a:gd name="T9" fmla="*/ 1690 h 2535"/>
                  <a:gd name="T10" fmla="*/ 1464 w 1464"/>
                  <a:gd name="T11" fmla="*/ 2535 h 2535"/>
                  <a:gd name="T12" fmla="*/ 1464 w 1464"/>
                  <a:gd name="T13" fmla="*/ 845 h 2535"/>
                  <a:gd name="T14" fmla="*/ 832 w 1464"/>
                  <a:gd name="T15" fmla="*/ 480 h 2535"/>
                  <a:gd name="T16" fmla="*/ 832 w 1464"/>
                  <a:gd name="T17" fmla="*/ 895 h 2535"/>
                  <a:gd name="T18" fmla="*/ 832 w 1464"/>
                  <a:gd name="T19" fmla="*/ 895 h 2535"/>
                  <a:gd name="T20" fmla="*/ 832 w 1464"/>
                  <a:gd name="T21" fmla="*/ 895 h 2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64" h="2535">
                    <a:moveTo>
                      <a:pt x="832" y="895"/>
                    </a:moveTo>
                    <a:lnTo>
                      <a:pt x="559" y="755"/>
                    </a:lnTo>
                    <a:lnTo>
                      <a:pt x="559" y="322"/>
                    </a:lnTo>
                    <a:lnTo>
                      <a:pt x="0" y="0"/>
                    </a:lnTo>
                    <a:lnTo>
                      <a:pt x="0" y="1690"/>
                    </a:lnTo>
                    <a:lnTo>
                      <a:pt x="1464" y="2535"/>
                    </a:lnTo>
                    <a:lnTo>
                      <a:pt x="1464" y="845"/>
                    </a:lnTo>
                    <a:lnTo>
                      <a:pt x="832" y="480"/>
                    </a:lnTo>
                    <a:lnTo>
                      <a:pt x="832" y="895"/>
                    </a:lnTo>
                    <a:moveTo>
                      <a:pt x="832" y="895"/>
                    </a:moveTo>
                    <a:lnTo>
                      <a:pt x="832" y="895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10" name="TextBox 109"/>
          <p:cNvSpPr txBox="1">
            <a:spLocks/>
          </p:cNvSpPr>
          <p:nvPr/>
        </p:nvSpPr>
        <p:spPr>
          <a:xfrm>
            <a:off x="5359460" y="1560513"/>
            <a:ext cx="2739266" cy="5651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5"/>
                </a:solidFill>
              </a:rPr>
              <a:t>Increased plastics recycling rate </a:t>
            </a:r>
          </a:p>
        </p:txBody>
      </p:sp>
      <p:sp>
        <p:nvSpPr>
          <p:cNvPr id="111" name="TextBox 110"/>
          <p:cNvSpPr txBox="1">
            <a:spLocks/>
          </p:cNvSpPr>
          <p:nvPr/>
        </p:nvSpPr>
        <p:spPr>
          <a:xfrm>
            <a:off x="5359460" y="2670175"/>
            <a:ext cx="2739266" cy="5651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5"/>
                </a:solidFill>
              </a:rPr>
              <a:t>Plastics savings through packaging efficiency</a:t>
            </a:r>
          </a:p>
        </p:txBody>
      </p:sp>
      <p:sp>
        <p:nvSpPr>
          <p:cNvPr id="112" name="TextBox 111"/>
          <p:cNvSpPr txBox="1">
            <a:spLocks/>
          </p:cNvSpPr>
          <p:nvPr/>
        </p:nvSpPr>
        <p:spPr>
          <a:xfrm>
            <a:off x="5359460" y="3843338"/>
            <a:ext cx="2739266" cy="5651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Increased share in sales of </a:t>
            </a:r>
            <a:br>
              <a:rPr lang="en-GB" b="1" dirty="0">
                <a:solidFill>
                  <a:schemeClr val="accent2"/>
                </a:solidFill>
              </a:rPr>
            </a:br>
            <a:r>
              <a:rPr lang="en-GB" b="1" dirty="0">
                <a:solidFill>
                  <a:schemeClr val="accent2"/>
                </a:solidFill>
              </a:rPr>
              <a:t>electric passenger cars</a:t>
            </a: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5359461" y="4984750"/>
            <a:ext cx="2739266" cy="5651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Increased share in sales of electric trucks and buse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8976868" y="802322"/>
            <a:ext cx="220929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Assumption</a:t>
            </a:r>
            <a:r>
              <a:rPr lang="en-GB" b="1" dirty="0"/>
              <a:t> </a:t>
            </a:r>
            <a:r>
              <a:rPr lang="en-GB" dirty="0">
                <a:solidFill>
                  <a:schemeClr val="accent6"/>
                </a:solidFill>
              </a:rPr>
              <a:t>(%, global)</a:t>
            </a:r>
          </a:p>
        </p:txBody>
      </p:sp>
      <p:cxnSp>
        <p:nvCxnSpPr>
          <p:cNvPr id="116" name="AutoShape 249"/>
          <p:cNvCxnSpPr>
            <a:cxnSpLocks noChangeShapeType="1"/>
          </p:cNvCxnSpPr>
          <p:nvPr/>
        </p:nvCxnSpPr>
        <p:spPr bwMode="gray">
          <a:xfrm>
            <a:off x="8976868" y="1093966"/>
            <a:ext cx="2209292" cy="0"/>
          </a:xfrm>
          <a:prstGeom prst="straightConnector1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56" name="Object 155"/>
          <p:cNvGraphicFramePr>
            <a:graphicFrameLocks/>
          </p:cNvGraphicFramePr>
          <p:nvPr>
            <p:custDataLst>
              <p:tags r:id="rId20"/>
            </p:custDataLst>
            <p:extLst/>
          </p:nvPr>
        </p:nvGraphicFramePr>
        <p:xfrm>
          <a:off x="8877300" y="1676400"/>
          <a:ext cx="222880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0" name="Chart" r:id="rId46" imgW="2228645" imgH="914400" progId="MSGraph.Chart.8">
                  <p:embed followColorScheme="full"/>
                </p:oleObj>
              </mc:Choice>
              <mc:Fallback>
                <p:oleObj name="Chart" r:id="rId46" imgW="2228645" imgH="914400" progId="MSGraph.Chart.8">
                  <p:embed followColorScheme="full"/>
                  <p:pic>
                    <p:nvPicPr>
                      <p:cNvPr id="156" name="Object 155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8877300" y="1676400"/>
                        <a:ext cx="222880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380663" y="1571625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15EC4A4-51BF-44EC-A2DA-E354F4B4F36F}" type="datetime'''''''''''''''''''''''''''''''''''''''2''5'''''''''''''''''''">
              <a:rPr lang="en-US" altLang="en-US" sz="1400">
                <a:solidFill>
                  <a:schemeClr val="accent6"/>
                </a:solidFill>
              </a:rPr>
              <a:pPr/>
              <a:t>25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1" name="Rectangle 160"/>
          <p:cNvSpPr/>
          <p:nvPr>
            <p:custDataLst>
              <p:tags r:id="rId22"/>
            </p:custDataLst>
          </p:nvPr>
        </p:nvSpPr>
        <p:spPr bwMode="auto">
          <a:xfrm>
            <a:off x="10614025" y="503238"/>
            <a:ext cx="165100" cy="165100"/>
          </a:xfrm>
          <a:prstGeom prst="rect">
            <a:avLst/>
          </a:prstGeom>
          <a:solidFill>
            <a:schemeClr val="bg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0" name="Rectangle 159"/>
          <p:cNvSpPr/>
          <p:nvPr>
            <p:custDataLst>
              <p:tags r:id="rId23"/>
            </p:custDataLst>
          </p:nvPr>
        </p:nvSpPr>
        <p:spPr bwMode="auto">
          <a:xfrm>
            <a:off x="10614025" y="231775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880725" y="230188"/>
            <a:ext cx="6826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7E05005-AC88-409E-BA3A-8CC911B35778}" type="datetime'''''''''''D''''i''''s''''rup''t''''''''''io''''n'''''''''''''">
              <a:rPr lang="en-US" altLang="en-US" sz="1200">
                <a:solidFill>
                  <a:schemeClr val="accent6"/>
                </a:solidFill>
              </a:rPr>
              <a:pPr/>
              <a:t>Disruption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80725" y="501650"/>
            <a:ext cx="709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00" dirty="0">
                <a:solidFill>
                  <a:schemeClr val="accent6"/>
                </a:solidFill>
              </a:rPr>
              <a:t>Base case</a:t>
            </a:r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graphicFrame>
        <p:nvGraphicFramePr>
          <p:cNvPr id="164" name="Object 163"/>
          <p:cNvGraphicFramePr>
            <a:graphicFrameLocks/>
          </p:cNvGraphicFramePr>
          <p:nvPr>
            <p:custDataLst>
              <p:tags r:id="rId26"/>
            </p:custDataLst>
            <p:extLst/>
          </p:nvPr>
        </p:nvGraphicFramePr>
        <p:xfrm>
          <a:off x="8877300" y="3962400"/>
          <a:ext cx="222880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1" name="Chart" r:id="rId48" imgW="2228645" imgH="914400" progId="MSGraph.Chart.8">
                  <p:embed followColorScheme="full"/>
                </p:oleObj>
              </mc:Choice>
              <mc:Fallback>
                <p:oleObj name="Chart" r:id="rId48" imgW="2228645" imgH="914400" progId="MSGraph.Chart.8">
                  <p:embed followColorScheme="full"/>
                  <p:pic>
                    <p:nvPicPr>
                      <p:cNvPr id="164" name="Object 163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8877300" y="3962400"/>
                        <a:ext cx="222880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80663" y="3848100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22B4EF4-7A08-4D60-AC43-5F68C7259D28}" type="datetime'6''''''''''''''6'''''''''''''''''''''''''''''''''''''''''''''">
              <a:rPr lang="en-US" altLang="en-US" sz="1400">
                <a:solidFill>
                  <a:schemeClr val="accent6"/>
                </a:solidFill>
              </a:rPr>
              <a:pPr/>
              <a:t>66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graphicFrame>
        <p:nvGraphicFramePr>
          <p:cNvPr id="168" name="Object 167"/>
          <p:cNvGraphicFramePr>
            <a:graphicFrameLocks/>
          </p:cNvGraphicFramePr>
          <p:nvPr>
            <p:custDataLst>
              <p:tags r:id="rId28"/>
            </p:custDataLst>
            <p:extLst/>
          </p:nvPr>
        </p:nvGraphicFramePr>
        <p:xfrm>
          <a:off x="8877300" y="5105400"/>
          <a:ext cx="222880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2" name="Chart" r:id="rId50" imgW="2228645" imgH="914400" progId="MSGraph.Chart.8">
                  <p:embed followColorScheme="full"/>
                </p:oleObj>
              </mc:Choice>
              <mc:Fallback>
                <p:oleObj name="Chart" r:id="rId50" imgW="2228645" imgH="914400" progId="MSGraph.Chart.8">
                  <p:embed followColorScheme="full"/>
                  <p:pic>
                    <p:nvPicPr>
                      <p:cNvPr id="168" name="Object 167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8877300" y="5105400"/>
                        <a:ext cx="222880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380663" y="5000625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61791CC-1645-4FE9-A349-33EB2369EAE1}" type="datetime'''''4''''9'''''''''''''''''''''''''''''''''''''''''''''''''''">
              <a:rPr lang="en-US" altLang="en-US" sz="1400">
                <a:solidFill>
                  <a:schemeClr val="accent6"/>
                </a:solidFill>
              </a:rPr>
              <a:pPr/>
              <a:t>49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graphicFrame>
        <p:nvGraphicFramePr>
          <p:cNvPr id="172" name="Object 171"/>
          <p:cNvGraphicFramePr>
            <a:graphicFrameLocks/>
          </p:cNvGraphicFramePr>
          <p:nvPr>
            <p:custDataLst>
              <p:tags r:id="rId30"/>
            </p:custDataLst>
            <p:extLst/>
          </p:nvPr>
        </p:nvGraphicFramePr>
        <p:xfrm>
          <a:off x="8877300" y="2819400"/>
          <a:ext cx="2228806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3" name="Chart" r:id="rId52" imgW="2228645" imgH="914400" progId="MSGraph.Chart.8">
                  <p:embed followColorScheme="full"/>
                </p:oleObj>
              </mc:Choice>
              <mc:Fallback>
                <p:oleObj name="Chart" r:id="rId52" imgW="2228645" imgH="914400" progId="MSGraph.Chart.8">
                  <p:embed followColorScheme="full"/>
                  <p:pic>
                    <p:nvPicPr>
                      <p:cNvPr id="172" name="Object 17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8877300" y="2819400"/>
                        <a:ext cx="2228806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429875" y="2705100"/>
            <a:ext cx="142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E2AC033-55A5-4900-A92F-C82ED7F5BADB}" type="datetime'''''''''''''''''''''''''''''''''''''''''''''''''''''5'''">
              <a:rPr lang="en-US" altLang="en-US" sz="1400">
                <a:solidFill>
                  <a:schemeClr val="accent6"/>
                </a:solidFill>
              </a:rPr>
              <a:pPr/>
              <a:t>5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76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429875" y="3370263"/>
            <a:ext cx="142875" cy="212725"/>
          </a:xfrm>
          <a:prstGeom prst="rect">
            <a:avLst/>
          </a:prstGeom>
          <a:solidFill>
            <a:schemeClr val="bg2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2D5FB59-615D-4C3C-8144-F7F6BB4402A1}" type="datetime'''''''''''''''''0'''">
              <a:rPr lang="en-GB" altLang="en-US" sz="1400">
                <a:solidFill>
                  <a:schemeClr val="bg1"/>
                </a:solidFill>
              </a:rPr>
              <a:pPr/>
              <a:t>0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8976868" y="1161311"/>
            <a:ext cx="81814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2016</a:t>
            </a:r>
            <a:endParaRPr lang="en-GB" b="1" dirty="0">
              <a:solidFill>
                <a:schemeClr val="accent1"/>
              </a:solidFill>
            </a:endParaRPr>
          </a:p>
        </p:txBody>
      </p:sp>
      <p:cxnSp>
        <p:nvCxnSpPr>
          <p:cNvPr id="187" name="AutoShape 249"/>
          <p:cNvCxnSpPr>
            <a:cxnSpLocks noChangeShapeType="1"/>
          </p:cNvCxnSpPr>
          <p:nvPr/>
        </p:nvCxnSpPr>
        <p:spPr bwMode="gray">
          <a:xfrm>
            <a:off x="8976868" y="1452955"/>
            <a:ext cx="934246" cy="0"/>
          </a:xfrm>
          <a:prstGeom prst="straightConnector1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9" name="TextBox 188"/>
          <p:cNvSpPr txBox="1"/>
          <p:nvPr/>
        </p:nvSpPr>
        <p:spPr>
          <a:xfrm>
            <a:off x="10164179" y="1168931"/>
            <a:ext cx="81814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b="1" dirty="0">
                <a:solidFill>
                  <a:schemeClr val="accent2"/>
                </a:solidFill>
              </a:rPr>
              <a:t>2035</a:t>
            </a:r>
            <a:endParaRPr lang="en-GB" b="1" dirty="0">
              <a:solidFill>
                <a:schemeClr val="accent1"/>
              </a:solidFill>
            </a:endParaRPr>
          </a:p>
        </p:txBody>
      </p:sp>
      <p:cxnSp>
        <p:nvCxnSpPr>
          <p:cNvPr id="190" name="AutoShape 249"/>
          <p:cNvCxnSpPr>
            <a:cxnSpLocks noChangeShapeType="1"/>
          </p:cNvCxnSpPr>
          <p:nvPr/>
        </p:nvCxnSpPr>
        <p:spPr bwMode="gray">
          <a:xfrm>
            <a:off x="10164179" y="1452955"/>
            <a:ext cx="934246" cy="0"/>
          </a:xfrm>
          <a:prstGeom prst="straightConnector1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Oval 33"/>
          <p:cNvSpPr txBox="1"/>
          <p:nvPr>
            <p:custDataLst>
              <p:tags r:id="rId33"/>
            </p:custDataLst>
          </p:nvPr>
        </p:nvSpPr>
        <p:spPr>
          <a:xfrm>
            <a:off x="8044677" y="2370138"/>
            <a:ext cx="370932" cy="3709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</a:rPr>
              <a:t>+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2732088" y="1116465"/>
            <a:ext cx="1577174" cy="450984"/>
            <a:chOff x="2414588" y="1116465"/>
            <a:chExt cx="1577174" cy="450984"/>
          </a:xfrm>
        </p:grpSpPr>
        <p:sp>
          <p:nvSpPr>
            <p:cNvPr id="49" name="TextBox 48"/>
            <p:cNvSpPr txBox="1"/>
            <p:nvPr/>
          </p:nvSpPr>
          <p:spPr>
            <a:xfrm>
              <a:off x="2414588" y="1116465"/>
              <a:ext cx="1229833" cy="288147"/>
            </a:xfrm>
            <a:prstGeom prst="rect">
              <a:avLst/>
            </a:prstGeom>
            <a:solidFill>
              <a:schemeClr val="accent6"/>
            </a:solidFill>
            <a:ln w="19050">
              <a:noFill/>
            </a:ln>
          </p:spPr>
          <p:txBody>
            <a:bodyPr vert="horz"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lvl="0" indent="0" algn="ctr" defTabSz="1193860" eaLnBrk="1" hangingPunct="1">
                <a:buClr>
                  <a:schemeClr val="tx2"/>
                </a:buClr>
                <a:defRPr sz="1400"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1"/>
                  </a:solidFill>
                </a:rPr>
                <a:t>Peak in 2037</a:t>
              </a: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3644550" y="1262007"/>
              <a:ext cx="347212" cy="305442"/>
            </a:xfrm>
            <a:prstGeom prst="line">
              <a:avLst/>
            </a:prstGeom>
            <a:ln>
              <a:solidFill>
                <a:schemeClr val="accent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 45"/>
          <p:cNvGrpSpPr/>
          <p:nvPr/>
        </p:nvGrpSpPr>
        <p:grpSpPr>
          <a:xfrm>
            <a:off x="2359025" y="3083161"/>
            <a:ext cx="1229833" cy="852219"/>
            <a:chOff x="3191350" y="6359148"/>
            <a:chExt cx="1229833" cy="852219"/>
          </a:xfrm>
        </p:grpSpPr>
        <p:sp>
          <p:nvSpPr>
            <p:cNvPr id="236" name="TextBox 235"/>
            <p:cNvSpPr txBox="1"/>
            <p:nvPr/>
          </p:nvSpPr>
          <p:spPr>
            <a:xfrm>
              <a:off x="3191350" y="6923220"/>
              <a:ext cx="1229833" cy="288147"/>
            </a:xfrm>
            <a:prstGeom prst="rect">
              <a:avLst/>
            </a:prstGeom>
            <a:solidFill>
              <a:schemeClr val="accent6"/>
            </a:solidFill>
            <a:ln w="19050">
              <a:noFill/>
            </a:ln>
          </p:spPr>
          <p:txBody>
            <a:bodyPr vert="horz" wrap="square" lIns="36000" tIns="36000" rIns="36000" bIns="36000" rtlCol="0">
              <a:spAutoFit/>
            </a:bodyPr>
            <a:lstStyle>
              <a:defPPr>
                <a:defRPr lang="en-US"/>
              </a:defPPr>
              <a:lvl1pPr marL="0" lvl="0" indent="0" algn="ctr" defTabSz="1193860" eaLnBrk="1" hangingPunct="1">
                <a:buClr>
                  <a:schemeClr val="tx2"/>
                </a:buClr>
                <a:defRPr sz="1400"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b="1" dirty="0">
                  <a:solidFill>
                    <a:schemeClr val="bg1"/>
                  </a:solidFill>
                </a:rPr>
                <a:t>Peak in 2027</a:t>
              </a:r>
            </a:p>
          </p:txBody>
        </p:sp>
        <p:cxnSp>
          <p:nvCxnSpPr>
            <p:cNvPr id="237" name="Straight Connector 236"/>
            <p:cNvCxnSpPr>
              <a:endCxn id="236" idx="0"/>
            </p:cNvCxnSpPr>
            <p:nvPr/>
          </p:nvCxnSpPr>
          <p:spPr>
            <a:xfrm>
              <a:off x="3644550" y="6359148"/>
              <a:ext cx="161717" cy="564072"/>
            </a:xfrm>
            <a:prstGeom prst="line">
              <a:avLst/>
            </a:prstGeom>
            <a:ln>
              <a:solidFill>
                <a:schemeClr val="accent6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1" name="TextBox 180"/>
          <p:cNvSpPr txBox="1"/>
          <p:nvPr/>
        </p:nvSpPr>
        <p:spPr>
          <a:xfrm>
            <a:off x="4594225" y="1493893"/>
            <a:ext cx="522287" cy="28814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400" b="1" dirty="0" err="1">
                <a:solidFill>
                  <a:schemeClr val="accent3"/>
                </a:solidFill>
              </a:rPr>
              <a:t>BAU</a:t>
            </a:r>
            <a:endParaRPr lang="en-GB" sz="1400" b="1" dirty="0">
              <a:solidFill>
                <a:schemeClr val="accent3"/>
              </a:solidFill>
            </a:endParaRPr>
          </a:p>
        </p:txBody>
      </p:sp>
      <p:sp>
        <p:nvSpPr>
          <p:cNvPr id="97" name="Oval 33"/>
          <p:cNvSpPr txBox="1"/>
          <p:nvPr>
            <p:custDataLst>
              <p:tags r:id="rId34"/>
            </p:custDataLst>
          </p:nvPr>
        </p:nvSpPr>
        <p:spPr>
          <a:xfrm>
            <a:off x="8044677" y="3537653"/>
            <a:ext cx="370932" cy="3709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98" name="Oval 33"/>
          <p:cNvSpPr txBox="1"/>
          <p:nvPr>
            <p:custDataLst>
              <p:tags r:id="rId35"/>
            </p:custDataLst>
          </p:nvPr>
        </p:nvSpPr>
        <p:spPr>
          <a:xfrm>
            <a:off x="8044677" y="4663384"/>
            <a:ext cx="370932" cy="3709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810" tIns="0" rIns="3810" bIns="0" rtlCol="0" anchor="ctr" anchorCtr="1">
            <a:noAutofit/>
          </a:bodyPr>
          <a:lstStyle>
            <a:lvl1pPr marL="0" lvl="0" indent="0" defTabSz="119386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258246" lvl="1" indent="-256130" defTabSz="1193860" eaLnBrk="1" hangingPunct="1">
              <a:buClr>
                <a:schemeClr val="accent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hangingPunct="1">
              <a:buClr>
                <a:schemeClr val="accent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hangingPunct="1">
              <a:buClr>
                <a:schemeClr val="accent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hangingPunct="1">
              <a:buClr>
                <a:schemeClr val="accent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GB" sz="2400" b="1" dirty="0">
                <a:solidFill>
                  <a:schemeClr val="bg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121233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00"/>
                            </p:stCondLst>
                            <p:childTnLst>
                              <p:par>
                                <p:cTn id="10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000"/>
                            </p:stCondLst>
                            <p:childTnLst>
                              <p:par>
                                <p:cTn id="121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9728E-6 -2.05952E-6 L -0.13525 0.19084 " pathEditMode="relative" rAng="0" ptsTypes="AA">
                                      <p:cBhvr>
                                        <p:cTn id="122" dur="2000" fill="hold"/>
                                        <p:tgtEl>
                                          <p:spTgt spid="2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762" y="9542"/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3000"/>
                            </p:stCondLst>
                            <p:childTnLst>
                              <p:par>
                                <p:cTn id="1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0" grpId="0" animBg="1"/>
      <p:bldP spid="240" grpId="1" animBg="1"/>
      <p:bldP spid="20" grpId="0" animBg="1"/>
      <p:bldP spid="177" grpId="0" animBg="1"/>
      <p:bldP spid="178" grpId="0" animBg="1"/>
      <p:bldP spid="179" grpId="0" animBg="1"/>
      <p:bldP spid="110" grpId="0"/>
      <p:bldP spid="111" grpId="0"/>
      <p:bldP spid="112" grpId="0"/>
      <p:bldP spid="113" grpId="0"/>
      <p:bldOleChart spid="156" grpId="0"/>
      <p:bldP spid="159" grpId="0"/>
      <p:bldP spid="161" grpId="0" animBg="1"/>
      <p:bldP spid="160" grpId="0" animBg="1"/>
      <p:bldP spid="162" grpId="0"/>
      <p:bldP spid="163" grpId="0"/>
      <p:bldOleChart spid="164" grpId="0"/>
      <p:bldP spid="166" grpId="0"/>
      <p:bldOleChart spid="168" grpId="0"/>
      <p:bldP spid="169" grpId="0"/>
      <p:bldOleChart spid="172" grpId="0"/>
      <p:bldP spid="174" grpId="0"/>
      <p:bldP spid="176" grpId="0" animBg="1"/>
      <p:bldP spid="34" grpId="0" animBg="1"/>
      <p:bldP spid="97" grpId="0" animBg="1"/>
      <p:bldP spid="9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8" name="think-cell Slide" r:id="rId49" imgW="530" imgH="528" progId="TCLayout.ActiveDocument.1">
                  <p:embed/>
                </p:oleObj>
              </mc:Choice>
              <mc:Fallback>
                <p:oleObj name="think-cell Slide" r:id="rId49" imgW="530" imgH="52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b="1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86" name="Picture 385"/>
          <p:cNvPicPr>
            <a:picLocks/>
          </p:cNvPicPr>
          <p:nvPr/>
        </p:nvPicPr>
        <p:blipFill rotWithShape="1">
          <a:blip r:embed="rId5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44" r="28444"/>
          <a:stretch/>
        </p:blipFill>
        <p:spPr>
          <a:xfrm flipH="1">
            <a:off x="1689100" y="4170216"/>
            <a:ext cx="138933" cy="322257"/>
          </a:xfrm>
          <a:prstGeom prst="rect">
            <a:avLst/>
          </a:prstGeom>
        </p:spPr>
      </p:pic>
      <p:sp>
        <p:nvSpPr>
          <p:cNvPr id="19459" name="Shape_1"/>
          <p:cNvSpPr>
            <a:spLocks noGrp="1"/>
          </p:cNvSpPr>
          <p:nvPr>
            <p:ph type="title"/>
          </p:nvPr>
        </p:nvSpPr>
        <p:spPr>
          <a:xfrm>
            <a:off x="475488" y="230188"/>
            <a:ext cx="10969498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 gas, the debate is whether emerging disruptions offset demand growth by 2030</a:t>
            </a:r>
          </a:p>
        </p:txBody>
      </p:sp>
      <p:cxnSp>
        <p:nvCxnSpPr>
          <p:cNvPr id="377" name="Straight Connector 376"/>
          <p:cNvCxnSpPr/>
          <p:nvPr>
            <p:custDataLst>
              <p:tags r:id="rId5"/>
            </p:custDataLst>
          </p:nvPr>
        </p:nvCxnSpPr>
        <p:spPr bwMode="gray">
          <a:xfrm>
            <a:off x="6276975" y="4086225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Straight Connector 375"/>
          <p:cNvCxnSpPr/>
          <p:nvPr>
            <p:custDataLst>
              <p:tags r:id="rId6"/>
            </p:custDataLst>
          </p:nvPr>
        </p:nvCxnSpPr>
        <p:spPr bwMode="gray">
          <a:xfrm>
            <a:off x="5400675" y="4514850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Straight Connector 374"/>
          <p:cNvCxnSpPr/>
          <p:nvPr>
            <p:custDataLst>
              <p:tags r:id="rId7"/>
            </p:custDataLst>
          </p:nvPr>
        </p:nvCxnSpPr>
        <p:spPr bwMode="gray">
          <a:xfrm>
            <a:off x="3114675" y="5372100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Straight Connector 373"/>
          <p:cNvCxnSpPr/>
          <p:nvPr>
            <p:custDataLst>
              <p:tags r:id="rId8"/>
            </p:custDataLst>
          </p:nvPr>
        </p:nvCxnSpPr>
        <p:spPr bwMode="gray">
          <a:xfrm>
            <a:off x="2486025" y="1933575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Connector 380"/>
          <p:cNvCxnSpPr/>
          <p:nvPr>
            <p:custDataLst>
              <p:tags r:id="rId9"/>
            </p:custDataLst>
          </p:nvPr>
        </p:nvCxnSpPr>
        <p:spPr bwMode="gray">
          <a:xfrm>
            <a:off x="4352925" y="2362200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Connector 378"/>
          <p:cNvCxnSpPr/>
          <p:nvPr>
            <p:custDataLst>
              <p:tags r:id="rId10"/>
            </p:custDataLst>
          </p:nvPr>
        </p:nvCxnSpPr>
        <p:spPr bwMode="gray">
          <a:xfrm>
            <a:off x="5638800" y="2790825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/>
          <p:cNvCxnSpPr/>
          <p:nvPr>
            <p:custDataLst>
              <p:tags r:id="rId11"/>
            </p:custDataLst>
          </p:nvPr>
        </p:nvCxnSpPr>
        <p:spPr bwMode="gray">
          <a:xfrm>
            <a:off x="6276975" y="3657600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2" name="Straight Connector 381"/>
          <p:cNvCxnSpPr/>
          <p:nvPr>
            <p:custDataLst>
              <p:tags r:id="rId12"/>
            </p:custDataLst>
          </p:nvPr>
        </p:nvCxnSpPr>
        <p:spPr bwMode="gray">
          <a:xfrm>
            <a:off x="5915025" y="3219450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Straight Connector 379"/>
          <p:cNvCxnSpPr/>
          <p:nvPr>
            <p:custDataLst>
              <p:tags r:id="rId13"/>
            </p:custDataLst>
          </p:nvPr>
        </p:nvCxnSpPr>
        <p:spPr bwMode="gray">
          <a:xfrm>
            <a:off x="3571875" y="4943475"/>
            <a:ext cx="0" cy="12382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4" name="Object 383"/>
          <p:cNvGraphicFramePr>
            <a:graphicFrameLocks/>
          </p:cNvGraphicFramePr>
          <p:nvPr>
            <p:custDataLst>
              <p:tags r:id="rId14"/>
            </p:custDataLst>
            <p:extLst/>
          </p:nvPr>
        </p:nvGraphicFramePr>
        <p:xfrm>
          <a:off x="1905000" y="1447800"/>
          <a:ext cx="4467144" cy="451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159" name="Chart" r:id="rId52" imgW="4464107" imgH="4514719" progId="MSGraph.Chart.8">
                  <p:embed followColorScheme="full"/>
                </p:oleObj>
              </mc:Choice>
              <mc:Fallback>
                <p:oleObj name="Chart" r:id="rId52" imgW="4464107" imgH="4514719" progId="MSGraph.Chart.8">
                  <p:embed followColorScheme="full"/>
                  <p:pic>
                    <p:nvPicPr>
                      <p:cNvPr id="384" name="Object 383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905000" y="1447800"/>
                        <a:ext cx="4467144" cy="45148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4" name="Freeform 13"/>
          <p:cNvSpPr/>
          <p:nvPr>
            <p:custDataLst>
              <p:tags r:id="rId15"/>
            </p:custDataLst>
          </p:nvPr>
        </p:nvSpPr>
        <p:spPr bwMode="auto">
          <a:xfrm>
            <a:off x="2160588" y="1574800"/>
            <a:ext cx="174626" cy="436564"/>
          </a:xfrm>
          <a:custGeom>
            <a:avLst/>
            <a:gdLst/>
            <a:ahLst/>
            <a:cxnLst/>
            <a:rect l="0" t="0" r="0" b="0"/>
            <a:pathLst>
              <a:path w="174626" h="436564">
                <a:moveTo>
                  <a:pt x="174625" y="0"/>
                </a:moveTo>
                <a:lnTo>
                  <a:pt x="57150" y="436563"/>
                </a:lnTo>
                <a:lnTo>
                  <a:pt x="0" y="436563"/>
                </a:lnTo>
                <a:lnTo>
                  <a:pt x="117475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20" name="Freeform 19"/>
          <p:cNvSpPr/>
          <p:nvPr>
            <p:custDataLst>
              <p:tags r:id="rId16"/>
            </p:custDataLst>
          </p:nvPr>
        </p:nvSpPr>
        <p:spPr bwMode="auto">
          <a:xfrm>
            <a:off x="2160588" y="5429250"/>
            <a:ext cx="174626" cy="436564"/>
          </a:xfrm>
          <a:custGeom>
            <a:avLst/>
            <a:gdLst/>
            <a:ahLst/>
            <a:cxnLst/>
            <a:rect l="0" t="0" r="0" b="0"/>
            <a:pathLst>
              <a:path w="174626" h="436564">
                <a:moveTo>
                  <a:pt x="174625" y="0"/>
                </a:moveTo>
                <a:lnTo>
                  <a:pt x="57150" y="436563"/>
                </a:lnTo>
                <a:lnTo>
                  <a:pt x="0" y="436563"/>
                </a:lnTo>
                <a:lnTo>
                  <a:pt x="117475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17" name="Freeform 16"/>
          <p:cNvSpPr/>
          <p:nvPr>
            <p:custDataLst>
              <p:tags r:id="rId17"/>
            </p:custDataLst>
          </p:nvPr>
        </p:nvSpPr>
        <p:spPr bwMode="auto">
          <a:xfrm>
            <a:off x="2160588" y="3716338"/>
            <a:ext cx="174626" cy="436563"/>
          </a:xfrm>
          <a:custGeom>
            <a:avLst/>
            <a:gdLst/>
            <a:ahLst/>
            <a:cxnLst/>
            <a:rect l="0" t="0" r="0" b="0"/>
            <a:pathLst>
              <a:path w="174626" h="436563">
                <a:moveTo>
                  <a:pt x="174625" y="0"/>
                </a:moveTo>
                <a:lnTo>
                  <a:pt x="57150" y="436562"/>
                </a:lnTo>
                <a:lnTo>
                  <a:pt x="0" y="436562"/>
                </a:lnTo>
                <a:lnTo>
                  <a:pt x="117475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Freeform 14"/>
          <p:cNvSpPr/>
          <p:nvPr>
            <p:custDataLst>
              <p:tags r:id="rId18"/>
            </p:custDataLst>
          </p:nvPr>
        </p:nvSpPr>
        <p:spPr bwMode="auto">
          <a:xfrm>
            <a:off x="2160588" y="3716338"/>
            <a:ext cx="117476" cy="436563"/>
          </a:xfrm>
          <a:custGeom>
            <a:avLst/>
            <a:gdLst/>
            <a:ahLst/>
            <a:cxnLst/>
            <a:rect l="0" t="0" r="0" b="0"/>
            <a:pathLst>
              <a:path w="117476" h="436563">
                <a:moveTo>
                  <a:pt x="117475" y="0"/>
                </a:moveTo>
                <a:lnTo>
                  <a:pt x="0" y="436562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15"/>
          <p:cNvSpPr/>
          <p:nvPr>
            <p:custDataLst>
              <p:tags r:id="rId19"/>
            </p:custDataLst>
          </p:nvPr>
        </p:nvSpPr>
        <p:spPr bwMode="auto">
          <a:xfrm>
            <a:off x="2217738" y="3716338"/>
            <a:ext cx="117476" cy="436563"/>
          </a:xfrm>
          <a:custGeom>
            <a:avLst/>
            <a:gdLst/>
            <a:ahLst/>
            <a:cxnLst/>
            <a:rect l="0" t="0" r="0" b="0"/>
            <a:pathLst>
              <a:path w="117476" h="436563">
                <a:moveTo>
                  <a:pt x="117475" y="0"/>
                </a:moveTo>
                <a:lnTo>
                  <a:pt x="0" y="436562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>
            <p:custDataLst>
              <p:tags r:id="rId20"/>
            </p:custDataLst>
          </p:nvPr>
        </p:nvSpPr>
        <p:spPr bwMode="auto">
          <a:xfrm>
            <a:off x="2217738" y="1574800"/>
            <a:ext cx="117476" cy="436564"/>
          </a:xfrm>
          <a:custGeom>
            <a:avLst/>
            <a:gdLst/>
            <a:ahLst/>
            <a:cxnLst/>
            <a:rect l="0" t="0" r="0" b="0"/>
            <a:pathLst>
              <a:path w="117476" h="436564">
                <a:moveTo>
                  <a:pt x="117475" y="0"/>
                </a:moveTo>
                <a:lnTo>
                  <a:pt x="0" y="43656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>
            <p:custDataLst>
              <p:tags r:id="rId21"/>
            </p:custDataLst>
          </p:nvPr>
        </p:nvSpPr>
        <p:spPr bwMode="auto">
          <a:xfrm>
            <a:off x="2160588" y="1574800"/>
            <a:ext cx="117476" cy="436564"/>
          </a:xfrm>
          <a:custGeom>
            <a:avLst/>
            <a:gdLst/>
            <a:ahLst/>
            <a:cxnLst/>
            <a:rect l="0" t="0" r="0" b="0"/>
            <a:pathLst>
              <a:path w="117476" h="436564">
                <a:moveTo>
                  <a:pt x="117475" y="0"/>
                </a:moveTo>
                <a:lnTo>
                  <a:pt x="0" y="43656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17"/>
          <p:cNvSpPr/>
          <p:nvPr>
            <p:custDataLst>
              <p:tags r:id="rId22"/>
            </p:custDataLst>
          </p:nvPr>
        </p:nvSpPr>
        <p:spPr bwMode="auto">
          <a:xfrm>
            <a:off x="2160588" y="5429250"/>
            <a:ext cx="117476" cy="436564"/>
          </a:xfrm>
          <a:custGeom>
            <a:avLst/>
            <a:gdLst/>
            <a:ahLst/>
            <a:cxnLst/>
            <a:rect l="0" t="0" r="0" b="0"/>
            <a:pathLst>
              <a:path w="117476" h="436564">
                <a:moveTo>
                  <a:pt x="117475" y="0"/>
                </a:moveTo>
                <a:lnTo>
                  <a:pt x="0" y="43656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>
            <p:custDataLst>
              <p:tags r:id="rId23"/>
            </p:custDataLst>
          </p:nvPr>
        </p:nvSpPr>
        <p:spPr bwMode="auto">
          <a:xfrm>
            <a:off x="2217738" y="5429250"/>
            <a:ext cx="117476" cy="436564"/>
          </a:xfrm>
          <a:custGeom>
            <a:avLst/>
            <a:gdLst/>
            <a:ahLst/>
            <a:cxnLst/>
            <a:rect l="0" t="0" r="0" b="0"/>
            <a:pathLst>
              <a:path w="117476" h="436564">
                <a:moveTo>
                  <a:pt x="117475" y="0"/>
                </a:moveTo>
                <a:lnTo>
                  <a:pt x="0" y="436563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8" name="Straight Connector 397"/>
          <p:cNvCxnSpPr/>
          <p:nvPr>
            <p:custDataLst>
              <p:tags r:id="rId24"/>
            </p:custDataLst>
          </p:nvPr>
        </p:nvCxnSpPr>
        <p:spPr bwMode="gray">
          <a:xfrm>
            <a:off x="3114675" y="5802313"/>
            <a:ext cx="0" cy="12223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5" name="Straight Connector 414"/>
          <p:cNvCxnSpPr/>
          <p:nvPr>
            <p:custDataLst>
              <p:tags r:id="rId25"/>
            </p:custDataLst>
          </p:nvPr>
        </p:nvCxnSpPr>
        <p:spPr bwMode="gray">
          <a:xfrm>
            <a:off x="2486025" y="5770563"/>
            <a:ext cx="0" cy="15398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5" name="Straight Connector 394"/>
          <p:cNvCxnSpPr/>
          <p:nvPr>
            <p:custDataLst>
              <p:tags r:id="rId26"/>
            </p:custDataLst>
          </p:nvPr>
        </p:nvCxnSpPr>
        <p:spPr bwMode="gray">
          <a:xfrm flipV="1">
            <a:off x="6276975" y="1724025"/>
            <a:ext cx="0" cy="161925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6" name="Straight Connector 395"/>
          <p:cNvCxnSpPr/>
          <p:nvPr>
            <p:custDataLst>
              <p:tags r:id="rId27"/>
            </p:custDataLst>
          </p:nvPr>
        </p:nvCxnSpPr>
        <p:spPr bwMode="gray">
          <a:xfrm>
            <a:off x="2482850" y="5867400"/>
            <a:ext cx="635000" cy="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4" name="Straight Connector 393"/>
          <p:cNvCxnSpPr/>
          <p:nvPr>
            <p:custDataLst>
              <p:tags r:id="rId28"/>
            </p:custDataLst>
          </p:nvPr>
        </p:nvCxnSpPr>
        <p:spPr bwMode="gray">
          <a:xfrm>
            <a:off x="2482850" y="1781175"/>
            <a:ext cx="3797300" cy="0"/>
          </a:xfrm>
          <a:prstGeom prst="line">
            <a:avLst/>
          </a:prstGeom>
          <a:ln w="38100">
            <a:solidFill>
              <a:schemeClr val="accent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Straight Connector 396"/>
          <p:cNvCxnSpPr/>
          <p:nvPr>
            <p:custDataLst>
              <p:tags r:id="rId29"/>
            </p:custDataLst>
          </p:nvPr>
        </p:nvCxnSpPr>
        <p:spPr bwMode="gray">
          <a:xfrm>
            <a:off x="2486025" y="2362200"/>
            <a:ext cx="0" cy="316388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1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17525" y="4668838"/>
            <a:ext cx="8588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A755722E-BE56-4488-B623-D74940B5BF2D}" type="datetime'I''''''''''''''''nd''u''s''''''t''''''''''''ry'''''''''''">
              <a:rPr lang="en-US" altLang="en-US" sz="1600" b="1">
                <a:solidFill>
                  <a:schemeClr val="accent6"/>
                </a:solidFill>
                <a:sym typeface="+mn-lt"/>
              </a:rPr>
              <a:pPr/>
              <a:t>Industry</a:t>
            </a:fld>
            <a:r>
              <a:rPr lang="en-US" altLang="en-US" sz="1600" b="1">
                <a:solidFill>
                  <a:schemeClr val="accent6"/>
                </a:solidFill>
                <a:sym typeface="+mn-lt"/>
              </a:rPr>
              <a:t> </a:t>
            </a:r>
            <a:endParaRPr lang="en-US" sz="1600" b="1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16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355850" y="5526088"/>
            <a:ext cx="5588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8826B79-F038-4BA3-99A8-DE4E4211C12D}" type="datetime'''''''3'''''',6''''''2''''''''''''''''3'''">
              <a:rPr lang="en-US" altLang="en-US">
                <a:solidFill>
                  <a:schemeClr val="bg1"/>
                </a:solidFill>
                <a:sym typeface="+mn-lt"/>
              </a:rPr>
              <a:pPr/>
              <a:t>3,623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6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17525" y="5526088"/>
            <a:ext cx="13430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DB213AA9-4EB1-4D25-945D-DE53914DEA6F}" type="datetime'20''''30 ''''''d''i''''s''''r''''''up''''''''t''e''''''''d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2030 disrupted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20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17525" y="2087563"/>
            <a:ext cx="6318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6F067FAF-7645-4AD8-ABE4-11E49C813C79}" type="datetime'P''o''''''''''''''''''w''e''''r'' ''''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Power 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40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17525" y="1658938"/>
            <a:ext cx="4508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1430BF30-5ADD-4741-98AE-7CEE421467DD}" type="datetime'''''''2''''''''''''''''''''''''''''''''''0''''''''''''''1''6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2016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29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973263" y="1658938"/>
            <a:ext cx="558800" cy="244475"/>
          </a:xfrm>
          <a:prstGeom prst="rect">
            <a:avLst/>
          </a:prstGeom>
          <a:solidFill>
            <a:schemeClr val="bg2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C00967-84BF-428B-A794-CA1DF1279F6E}" type="datetime'''''''3,''5''''0''''''''''''''''''3'''">
              <a:rPr lang="en-US" altLang="en-US">
                <a:solidFill>
                  <a:schemeClr val="bg1"/>
                </a:solidFill>
                <a:sym typeface="+mn-lt"/>
              </a:rPr>
              <a:pPr/>
              <a:t>3,503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4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508250" y="5972175"/>
            <a:ext cx="584200" cy="311150"/>
          </a:xfrm>
          <a:prstGeom prst="ellipse">
            <a:avLst/>
          </a:prstGeom>
          <a:solidFill>
            <a:schemeClr val="accent3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3C50B2-A8A8-4DC3-9753-9E6141DBD3C6}" type="datetime'''''''''''''+''''''''''3%'''''">
              <a:rPr lang="en-US" altLang="en-US" b="1">
                <a:solidFill>
                  <a:schemeClr val="bg1"/>
                </a:solidFill>
                <a:sym typeface="+mn-lt"/>
              </a:rPr>
              <a:pPr/>
              <a:t>+3%</a:t>
            </a:fld>
            <a:endParaRPr lang="en-US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1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517525" y="2516188"/>
            <a:ext cx="7239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FA354D90-5B72-4E25-BF27-F55B837B7F4A}" type="datetime'''''''''''In''''''''''''''''''''dus''t''ry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Industry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18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17525" y="2944813"/>
            <a:ext cx="8207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FAAF49B4-05F0-4D7F-A137-D499BA15C709}" type="datetime'''''''''B''''''''''u''''''i''''''l''''d''in''g''s''''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Buildings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39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17525" y="3378200"/>
            <a:ext cx="5095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565F1624-F857-40B6-A571-8A54F019A684}" type="datetime'O''''''t''''''''''''h''''''e''''''''''''''''r''''''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Other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33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868738" y="3811588"/>
            <a:ext cx="5588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E43480B-69A4-488A-8DD7-6E2E739C92D8}" type="datetime'''''''''''''''4'',''''''''''2''''''''''2''''2'''''''''''''''">
              <a:rPr lang="en-US" altLang="en-US">
                <a:solidFill>
                  <a:schemeClr val="bg1"/>
                </a:solidFill>
                <a:sym typeface="+mn-lt"/>
              </a:rPr>
              <a:pPr/>
              <a:t>4,222</a:t>
            </a:fld>
            <a:endParaRPr lang="en-U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8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17525" y="4240213"/>
            <a:ext cx="6667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4DE3326E-6BB3-486D-9AC6-D40F3CC5D76E}" type="datetime'''''''''''''''''''''Pow''''''''''''''''''''''''''e''r'''">
              <a:rPr lang="en-US" altLang="en-US" sz="1600" b="1">
                <a:solidFill>
                  <a:schemeClr val="accent6"/>
                </a:solidFill>
                <a:sym typeface="+mn-lt"/>
              </a:rPr>
              <a:pPr/>
              <a:t>Power</a:t>
            </a:fld>
            <a:r>
              <a:rPr lang="en-US" altLang="en-US" sz="1600" b="1" dirty="0">
                <a:solidFill>
                  <a:schemeClr val="accent6"/>
                </a:solidFill>
                <a:sym typeface="+mn-lt"/>
              </a:rPr>
              <a:t> </a:t>
            </a:r>
            <a:endParaRPr lang="en-US" sz="1600" b="1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37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952875" y="1625600"/>
            <a:ext cx="742950" cy="31115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4801B5B-6010-4195-972F-8AB620DA4172}" type="datetime'+''''2''''''''''''''''''''''''''''''''''''''''''''''1%'''">
              <a:rPr lang="en-US" altLang="en-US" b="1">
                <a:solidFill>
                  <a:schemeClr val="bg1"/>
                </a:solidFill>
                <a:sym typeface="+mn-lt"/>
              </a:rPr>
              <a:pPr/>
              <a:t>+21%</a:t>
            </a:fld>
            <a:endParaRPr lang="en-US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32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17525" y="3811588"/>
            <a:ext cx="9017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2A9C3D3B-F345-430F-9EAF-A91A1F51216F}" type="datetime'''''''''''''2''''''03''''0'''''''''''''' ''''''B''a''''''U'''">
              <a:rPr lang="en-US" altLang="en-US" sz="1600">
                <a:solidFill>
                  <a:schemeClr val="accent6"/>
                </a:solidFill>
                <a:sym typeface="+mn-lt"/>
              </a:rPr>
              <a:pPr/>
              <a:t>2030 BaU</a:t>
            </a:fld>
            <a:endParaRPr lang="en-US" sz="16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30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17525" y="5097463"/>
            <a:ext cx="9255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071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8208" indent="-146993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071" baseline="0">
                <a:solidFill>
                  <a:schemeClr val="tx1"/>
                </a:solidFill>
                <a:latin typeface="+mn-lt"/>
              </a:defRPr>
            </a:lvl2pPr>
            <a:lvl3pPr marL="349867" indent="-20044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solidFill>
                  <a:schemeClr val="tx1"/>
                </a:solidFill>
                <a:latin typeface="+mn-lt"/>
              </a:defRPr>
            </a:lvl3pPr>
            <a:lvl4pPr marL="470134" indent="-119052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71" baseline="0">
                <a:solidFill>
                  <a:schemeClr val="tx1"/>
                </a:solidFill>
                <a:latin typeface="+mn-lt"/>
              </a:defRPr>
            </a:lvl4pPr>
            <a:lvl5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solidFill>
                  <a:schemeClr val="tx1"/>
                </a:solidFill>
                <a:latin typeface="+mn-lt"/>
              </a:defRPr>
            </a:lvl5pPr>
            <a:lvl6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6pPr>
            <a:lvl7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7pPr>
            <a:lvl8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8pPr>
            <a:lvl9pPr marL="573782" indent="-99615" algn="l" defTabSz="68515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71C0DA7E-87B0-4615-8AC8-9424EC2D0C8E}" type="datetime'''''''''''B''u''''''''''''''i''''l''''d''''''i''''n''''g''s'''">
              <a:rPr lang="en-US" altLang="en-US" sz="1600" b="1">
                <a:solidFill>
                  <a:schemeClr val="accent6"/>
                </a:solidFill>
                <a:sym typeface="+mn-lt"/>
              </a:rPr>
              <a:pPr/>
              <a:t>Buildings</a:t>
            </a:fld>
            <a:endParaRPr lang="en-US" sz="1600" b="1" dirty="0">
              <a:solidFill>
                <a:schemeClr val="accent6"/>
              </a:solidFill>
              <a:sym typeface="+mn-lt"/>
            </a:endParaRPr>
          </a:p>
        </p:txBody>
      </p:sp>
      <p:pic>
        <p:nvPicPr>
          <p:cNvPr id="443" name="Picture 442"/>
          <p:cNvPicPr>
            <a:picLocks/>
          </p:cNvPicPr>
          <p:nvPr/>
        </p:nvPicPr>
        <p:blipFill rotWithShape="1">
          <a:blip r:embed="rId5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444" r="28444"/>
          <a:stretch/>
        </p:blipFill>
        <p:spPr>
          <a:xfrm flipH="1">
            <a:off x="1689100" y="2020888"/>
            <a:ext cx="162144" cy="376096"/>
          </a:xfrm>
          <a:prstGeom prst="rect">
            <a:avLst/>
          </a:prstGeom>
        </p:spPr>
      </p:pic>
      <p:pic>
        <p:nvPicPr>
          <p:cNvPr id="444" name="Picture 443"/>
          <p:cNvPicPr>
            <a:picLocks/>
          </p:cNvPicPr>
          <p:nvPr/>
        </p:nvPicPr>
        <p:blipFill rotWithShape="1">
          <a:blip r:embed="rId5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28" t="6087" r="10004" b="6881"/>
          <a:stretch/>
        </p:blipFill>
        <p:spPr>
          <a:xfrm>
            <a:off x="1622425" y="2538413"/>
            <a:ext cx="296462" cy="320638"/>
          </a:xfrm>
          <a:prstGeom prst="rect">
            <a:avLst/>
          </a:prstGeom>
        </p:spPr>
      </p:pic>
      <p:pic>
        <p:nvPicPr>
          <p:cNvPr id="448" name="Picture 447"/>
          <p:cNvPicPr>
            <a:picLocks/>
          </p:cNvPicPr>
          <p:nvPr/>
        </p:nvPicPr>
        <p:blipFill rotWithShape="1">
          <a:blip r:embed="rId5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28" t="6087" r="10004" b="6881"/>
          <a:stretch/>
        </p:blipFill>
        <p:spPr>
          <a:xfrm>
            <a:off x="1651000" y="4668838"/>
            <a:ext cx="248780" cy="269068"/>
          </a:xfrm>
          <a:prstGeom prst="rect">
            <a:avLst/>
          </a:prstGeom>
        </p:spPr>
      </p:pic>
      <p:pic>
        <p:nvPicPr>
          <p:cNvPr id="449" name="Picture 448"/>
          <p:cNvPicPr>
            <a:picLocks noChangeAspect="1"/>
          </p:cNvPicPr>
          <p:nvPr/>
        </p:nvPicPr>
        <p:blipFill rotWithShape="1">
          <a:blip r:embed="rId5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9" t="8873" r="5003" b="6883"/>
          <a:stretch/>
        </p:blipFill>
        <p:spPr>
          <a:xfrm>
            <a:off x="1636713" y="5040313"/>
            <a:ext cx="273050" cy="252959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014538" y="808040"/>
            <a:ext cx="4731181" cy="534631"/>
            <a:chOff x="1657350" y="933807"/>
            <a:chExt cx="4731181" cy="534631"/>
          </a:xfrm>
        </p:grpSpPr>
        <p:sp>
          <p:nvSpPr>
            <p:cNvPr id="441" name="Title 1"/>
            <p:cNvSpPr txBox="1">
              <a:spLocks/>
            </p:cNvSpPr>
            <p:nvPr/>
          </p:nvSpPr>
          <p:spPr bwMode="auto">
            <a:xfrm>
              <a:off x="1657350" y="933807"/>
              <a:ext cx="4731181" cy="49244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206518" algn="l"/>
                </a:tabLst>
                <a:defRPr sz="1530" b="0" baseline="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1pPr>
              <a:lvl2pPr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2pPr>
              <a:lvl3pPr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3pPr>
              <a:lvl4pPr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4pPr>
              <a:lvl5pPr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5pPr>
              <a:lvl6pPr marL="349867"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6pPr>
              <a:lvl7pPr marL="699734"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7pPr>
              <a:lvl8pPr marL="1049600"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8pPr>
              <a:lvl9pPr marL="1399468" algn="l" defTabSz="685156" rtl="0" eaLnBrk="1" fontAlgn="base" hangingPunct="1">
                <a:spcBef>
                  <a:spcPct val="0"/>
                </a:spcBef>
                <a:spcAft>
                  <a:spcPct val="0"/>
                </a:spcAft>
                <a:defRPr sz="1454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r>
                <a:rPr lang="en-US" sz="1600" b="1" kern="0" dirty="0">
                  <a:solidFill>
                    <a:schemeClr val="accent2"/>
                  </a:solidFill>
                </a:rPr>
                <a:t>Gas demand</a:t>
              </a:r>
            </a:p>
            <a:p>
              <a:r>
                <a:rPr lang="en-US" sz="1600" kern="0" dirty="0" err="1">
                  <a:solidFill>
                    <a:srgbClr val="A6A6A6"/>
                  </a:solidFill>
                </a:rPr>
                <a:t>Bcm</a:t>
              </a:r>
              <a:endParaRPr lang="en-US" sz="1600" kern="0" dirty="0">
                <a:solidFill>
                  <a:srgbClr val="A6A6A6"/>
                </a:solidFill>
              </a:endParaRPr>
            </a:p>
          </p:txBody>
        </p:sp>
        <p:cxnSp>
          <p:nvCxnSpPr>
            <p:cNvPr id="43" name="Straight Connector 42"/>
            <p:cNvCxnSpPr>
              <a:cxnSpLocks/>
            </p:cNvCxnSpPr>
            <p:nvPr/>
          </p:nvCxnSpPr>
          <p:spPr>
            <a:xfrm>
              <a:off x="1657350" y="1468438"/>
              <a:ext cx="473118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5" name="Picture 434"/>
          <p:cNvPicPr>
            <a:picLocks noChangeAspect="1"/>
          </p:cNvPicPr>
          <p:nvPr/>
        </p:nvPicPr>
        <p:blipFill rotWithShape="1">
          <a:blip r:embed="rId5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59" t="8873" r="5003" b="6883"/>
          <a:stretch/>
        </p:blipFill>
        <p:spPr>
          <a:xfrm>
            <a:off x="1608138" y="2962275"/>
            <a:ext cx="325384" cy="301442"/>
          </a:xfrm>
          <a:prstGeom prst="rect">
            <a:avLst/>
          </a:prstGeom>
        </p:spPr>
      </p:pic>
      <p:sp>
        <p:nvSpPr>
          <p:cNvPr id="445" name="Freeform 1710"/>
          <p:cNvSpPr>
            <a:spLocks noEditPoints="1"/>
          </p:cNvSpPr>
          <p:nvPr/>
        </p:nvSpPr>
        <p:spPr bwMode="auto">
          <a:xfrm>
            <a:off x="1595438" y="3359055"/>
            <a:ext cx="308653" cy="346150"/>
          </a:xfrm>
          <a:custGeom>
            <a:avLst/>
            <a:gdLst>
              <a:gd name="T0" fmla="*/ 9985 w 18909"/>
              <a:gd name="T1" fmla="*/ 19461 h 21155"/>
              <a:gd name="T2" fmla="*/ 7909 w 18909"/>
              <a:gd name="T3" fmla="*/ 19006 h 21155"/>
              <a:gd name="T4" fmla="*/ 7098 w 18909"/>
              <a:gd name="T5" fmla="*/ 16793 h 21155"/>
              <a:gd name="T6" fmla="*/ 6877 w 18909"/>
              <a:gd name="T7" fmla="*/ 15421 h 21155"/>
              <a:gd name="T8" fmla="*/ 7495 w 18909"/>
              <a:gd name="T9" fmla="*/ 12052 h 21155"/>
              <a:gd name="T10" fmla="*/ 9312 w 18909"/>
              <a:gd name="T11" fmla="*/ 10235 h 21155"/>
              <a:gd name="T12" fmla="*/ 11572 w 18909"/>
              <a:gd name="T13" fmla="*/ 10445 h 21155"/>
              <a:gd name="T14" fmla="*/ 13739 w 18909"/>
              <a:gd name="T15" fmla="*/ 9432 h 21155"/>
              <a:gd name="T16" fmla="*/ 15184 w 18909"/>
              <a:gd name="T17" fmla="*/ 11009 h 21155"/>
              <a:gd name="T18" fmla="*/ 16958 w 18909"/>
              <a:gd name="T19" fmla="*/ 11708 h 21155"/>
              <a:gd name="T20" fmla="*/ 18226 w 18909"/>
              <a:gd name="T21" fmla="*/ 13758 h 21155"/>
              <a:gd name="T22" fmla="*/ 17298 w 18909"/>
              <a:gd name="T23" fmla="*/ 16355 h 21155"/>
              <a:gd name="T24" fmla="*/ 17062 w 18909"/>
              <a:gd name="T25" fmla="*/ 18373 h 21155"/>
              <a:gd name="T26" fmla="*/ 15671 w 18909"/>
              <a:gd name="T27" fmla="*/ 20228 h 21155"/>
              <a:gd name="T28" fmla="*/ 13254 w 18909"/>
              <a:gd name="T29" fmla="*/ 20033 h 21155"/>
              <a:gd name="T30" fmla="*/ 11656 w 18909"/>
              <a:gd name="T31" fmla="*/ 21110 h 21155"/>
              <a:gd name="T32" fmla="*/ 14354 w 18909"/>
              <a:gd name="T33" fmla="*/ 13441 h 21155"/>
              <a:gd name="T34" fmla="*/ 10622 w 18909"/>
              <a:gd name="T35" fmla="*/ 17013 h 21155"/>
              <a:gd name="T36" fmla="*/ 4357 w 18909"/>
              <a:gd name="T37" fmla="*/ 11562 h 21155"/>
              <a:gd name="T38" fmla="*/ 2086 w 18909"/>
              <a:gd name="T39" fmla="*/ 11480 h 21155"/>
              <a:gd name="T40" fmla="*/ 445 w 18909"/>
              <a:gd name="T41" fmla="*/ 9670 h 21155"/>
              <a:gd name="T42" fmla="*/ 254 w 18909"/>
              <a:gd name="T43" fmla="*/ 7316 h 21155"/>
              <a:gd name="T44" fmla="*/ 131 w 18909"/>
              <a:gd name="T45" fmla="*/ 6285 h 21155"/>
              <a:gd name="T46" fmla="*/ 1143 w 18909"/>
              <a:gd name="T47" fmla="*/ 4444 h 21155"/>
              <a:gd name="T48" fmla="*/ 2657 w 18909"/>
              <a:gd name="T49" fmla="*/ 4141 h 21155"/>
              <a:gd name="T50" fmla="*/ 4319 w 18909"/>
              <a:gd name="T51" fmla="*/ 2824 h 21155"/>
              <a:gd name="T52" fmla="*/ 6397 w 18909"/>
              <a:gd name="T53" fmla="*/ 3378 h 21155"/>
              <a:gd name="T54" fmla="*/ 7395 w 18909"/>
              <a:gd name="T55" fmla="*/ 4642 h 21155"/>
              <a:gd name="T56" fmla="*/ 9156 w 18909"/>
              <a:gd name="T57" fmla="*/ 5794 h 21155"/>
              <a:gd name="T58" fmla="*/ 8636 w 18909"/>
              <a:gd name="T59" fmla="*/ 7241 h 21155"/>
              <a:gd name="T60" fmla="*/ 9339 w 18909"/>
              <a:gd name="T61" fmla="*/ 8827 h 21155"/>
              <a:gd name="T62" fmla="*/ 8311 w 18909"/>
              <a:gd name="T63" fmla="*/ 10714 h 21155"/>
              <a:gd name="T64" fmla="*/ 6448 w 18909"/>
              <a:gd name="T65" fmla="*/ 11087 h 21155"/>
              <a:gd name="T66" fmla="*/ 5178 w 18909"/>
              <a:gd name="T67" fmla="*/ 12336 h 21155"/>
              <a:gd name="T68" fmla="*/ 7073 w 18909"/>
              <a:gd name="T69" fmla="*/ 6395 h 21155"/>
              <a:gd name="T70" fmla="*/ 2145 w 18909"/>
              <a:gd name="T71" fmla="*/ 7989 h 21155"/>
              <a:gd name="T72" fmla="*/ 13338 w 18909"/>
              <a:gd name="T73" fmla="*/ 8744 h 21155"/>
              <a:gd name="T74" fmla="*/ 11563 w 18909"/>
              <a:gd name="T75" fmla="*/ 8928 h 21155"/>
              <a:gd name="T76" fmla="*/ 10239 w 18909"/>
              <a:gd name="T77" fmla="*/ 7450 h 21155"/>
              <a:gd name="T78" fmla="*/ 9835 w 18909"/>
              <a:gd name="T79" fmla="*/ 6404 h 21155"/>
              <a:gd name="T80" fmla="*/ 9385 w 18909"/>
              <a:gd name="T81" fmla="*/ 3819 h 21155"/>
              <a:gd name="T82" fmla="*/ 10450 w 18909"/>
              <a:gd name="T83" fmla="*/ 2040 h 21155"/>
              <a:gd name="T84" fmla="*/ 11867 w 18909"/>
              <a:gd name="T85" fmla="*/ 1411 h 21155"/>
              <a:gd name="T86" fmla="*/ 13777 w 18909"/>
              <a:gd name="T87" fmla="*/ 48 h 21155"/>
              <a:gd name="T88" fmla="*/ 15911 w 18909"/>
              <a:gd name="T89" fmla="*/ 357 h 21155"/>
              <a:gd name="T90" fmla="*/ 17915 w 18909"/>
              <a:gd name="T91" fmla="*/ 2220 h 21155"/>
              <a:gd name="T92" fmla="*/ 18085 w 18909"/>
              <a:gd name="T93" fmla="*/ 3635 h 21155"/>
              <a:gd name="T94" fmla="*/ 18909 w 18909"/>
              <a:gd name="T95" fmla="*/ 5056 h 21155"/>
              <a:gd name="T96" fmla="*/ 17641 w 18909"/>
              <a:gd name="T97" fmla="*/ 6602 h 21155"/>
              <a:gd name="T98" fmla="*/ 16944 w 18909"/>
              <a:gd name="T99" fmla="*/ 8423 h 21155"/>
              <a:gd name="T100" fmla="*/ 14508 w 18909"/>
              <a:gd name="T101" fmla="*/ 9640 h 21155"/>
              <a:gd name="T102" fmla="*/ 16649 w 18909"/>
              <a:gd name="T103" fmla="*/ 4814 h 21155"/>
              <a:gd name="T104" fmla="*/ 12289 w 18909"/>
              <a:gd name="T105" fmla="*/ 3005 h 21155"/>
              <a:gd name="T106" fmla="*/ 14831 w 18909"/>
              <a:gd name="T107" fmla="*/ 7283 h 21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909" h="21155">
                <a:moveTo>
                  <a:pt x="11656" y="21110"/>
                </a:moveTo>
                <a:cubicBezTo>
                  <a:pt x="11084" y="21022"/>
                  <a:pt x="10965" y="20974"/>
                  <a:pt x="10964" y="20832"/>
                </a:cubicBezTo>
                <a:cubicBezTo>
                  <a:pt x="10963" y="20691"/>
                  <a:pt x="10848" y="20233"/>
                  <a:pt x="10773" y="20074"/>
                </a:cubicBezTo>
                <a:cubicBezTo>
                  <a:pt x="10621" y="19748"/>
                  <a:pt x="10341" y="19531"/>
                  <a:pt x="9985" y="19461"/>
                </a:cubicBezTo>
                <a:cubicBezTo>
                  <a:pt x="9731" y="19411"/>
                  <a:pt x="9499" y="19459"/>
                  <a:pt x="9094" y="19647"/>
                </a:cubicBezTo>
                <a:cubicBezTo>
                  <a:pt x="8912" y="19731"/>
                  <a:pt x="8746" y="19800"/>
                  <a:pt x="8726" y="19800"/>
                </a:cubicBezTo>
                <a:cubicBezTo>
                  <a:pt x="8680" y="19800"/>
                  <a:pt x="8227" y="19379"/>
                  <a:pt x="8047" y="19168"/>
                </a:cubicBezTo>
                <a:lnTo>
                  <a:pt x="7909" y="19006"/>
                </a:lnTo>
                <a:lnTo>
                  <a:pt x="8065" y="18663"/>
                </a:lnTo>
                <a:cubicBezTo>
                  <a:pt x="8252" y="18253"/>
                  <a:pt x="8283" y="18148"/>
                  <a:pt x="8283" y="17921"/>
                </a:cubicBezTo>
                <a:cubicBezTo>
                  <a:pt x="8283" y="17469"/>
                  <a:pt x="7989" y="17068"/>
                  <a:pt x="7529" y="16894"/>
                </a:cubicBezTo>
                <a:cubicBezTo>
                  <a:pt x="7455" y="16866"/>
                  <a:pt x="7261" y="16821"/>
                  <a:pt x="7098" y="16793"/>
                </a:cubicBezTo>
                <a:cubicBezTo>
                  <a:pt x="6935" y="16766"/>
                  <a:pt x="6787" y="16730"/>
                  <a:pt x="6769" y="16713"/>
                </a:cubicBezTo>
                <a:cubicBezTo>
                  <a:pt x="6751" y="16696"/>
                  <a:pt x="6717" y="16593"/>
                  <a:pt x="6693" y="16484"/>
                </a:cubicBezTo>
                <a:cubicBezTo>
                  <a:pt x="6636" y="16229"/>
                  <a:pt x="6557" y="15626"/>
                  <a:pt x="6576" y="15595"/>
                </a:cubicBezTo>
                <a:cubicBezTo>
                  <a:pt x="6584" y="15581"/>
                  <a:pt x="6720" y="15503"/>
                  <a:pt x="6877" y="15421"/>
                </a:cubicBezTo>
                <a:cubicBezTo>
                  <a:pt x="7335" y="15181"/>
                  <a:pt x="7588" y="14913"/>
                  <a:pt x="7679" y="14573"/>
                </a:cubicBezTo>
                <a:cubicBezTo>
                  <a:pt x="7790" y="14154"/>
                  <a:pt x="7660" y="13797"/>
                  <a:pt x="7232" y="13349"/>
                </a:cubicBezTo>
                <a:cubicBezTo>
                  <a:pt x="7096" y="13207"/>
                  <a:pt x="6985" y="13075"/>
                  <a:pt x="6985" y="13056"/>
                </a:cubicBezTo>
                <a:cubicBezTo>
                  <a:pt x="6985" y="12957"/>
                  <a:pt x="7422" y="12097"/>
                  <a:pt x="7495" y="12052"/>
                </a:cubicBezTo>
                <a:cubicBezTo>
                  <a:pt x="7509" y="12043"/>
                  <a:pt x="7658" y="12057"/>
                  <a:pt x="7825" y="12083"/>
                </a:cubicBezTo>
                <a:cubicBezTo>
                  <a:pt x="8399" y="12174"/>
                  <a:pt x="8772" y="12088"/>
                  <a:pt x="9060" y="11800"/>
                </a:cubicBezTo>
                <a:cubicBezTo>
                  <a:pt x="9348" y="11512"/>
                  <a:pt x="9434" y="11139"/>
                  <a:pt x="9343" y="10565"/>
                </a:cubicBezTo>
                <a:cubicBezTo>
                  <a:pt x="9317" y="10398"/>
                  <a:pt x="9303" y="10249"/>
                  <a:pt x="9312" y="10235"/>
                </a:cubicBezTo>
                <a:cubicBezTo>
                  <a:pt x="9358" y="10161"/>
                  <a:pt x="10217" y="9725"/>
                  <a:pt x="10317" y="9725"/>
                </a:cubicBezTo>
                <a:cubicBezTo>
                  <a:pt x="10336" y="9725"/>
                  <a:pt x="10471" y="9840"/>
                  <a:pt x="10616" y="9981"/>
                </a:cubicBezTo>
                <a:cubicBezTo>
                  <a:pt x="10820" y="10178"/>
                  <a:pt x="10930" y="10260"/>
                  <a:pt x="11099" y="10340"/>
                </a:cubicBezTo>
                <a:cubicBezTo>
                  <a:pt x="11301" y="10437"/>
                  <a:pt x="11336" y="10445"/>
                  <a:pt x="11572" y="10445"/>
                </a:cubicBezTo>
                <a:cubicBezTo>
                  <a:pt x="11802" y="10445"/>
                  <a:pt x="11844" y="10436"/>
                  <a:pt x="12013" y="10353"/>
                </a:cubicBezTo>
                <a:cubicBezTo>
                  <a:pt x="12271" y="10226"/>
                  <a:pt x="12489" y="9986"/>
                  <a:pt x="12679" y="9621"/>
                </a:cubicBezTo>
                <a:cubicBezTo>
                  <a:pt x="12761" y="9464"/>
                  <a:pt x="12843" y="9330"/>
                  <a:pt x="12863" y="9322"/>
                </a:cubicBezTo>
                <a:cubicBezTo>
                  <a:pt x="12911" y="9304"/>
                  <a:pt x="13470" y="9374"/>
                  <a:pt x="13739" y="9432"/>
                </a:cubicBezTo>
                <a:cubicBezTo>
                  <a:pt x="13874" y="9461"/>
                  <a:pt x="13968" y="9497"/>
                  <a:pt x="13982" y="9525"/>
                </a:cubicBezTo>
                <a:cubicBezTo>
                  <a:pt x="13995" y="9550"/>
                  <a:pt x="14026" y="9694"/>
                  <a:pt x="14052" y="9846"/>
                </a:cubicBezTo>
                <a:cubicBezTo>
                  <a:pt x="14151" y="10436"/>
                  <a:pt x="14361" y="10760"/>
                  <a:pt x="14762" y="10945"/>
                </a:cubicBezTo>
                <a:cubicBezTo>
                  <a:pt x="14877" y="10998"/>
                  <a:pt x="14950" y="11009"/>
                  <a:pt x="15184" y="11009"/>
                </a:cubicBezTo>
                <a:cubicBezTo>
                  <a:pt x="15492" y="11009"/>
                  <a:pt x="15583" y="10983"/>
                  <a:pt x="16026" y="10763"/>
                </a:cubicBezTo>
                <a:cubicBezTo>
                  <a:pt x="16242" y="10655"/>
                  <a:pt x="16248" y="10654"/>
                  <a:pt x="16322" y="10702"/>
                </a:cubicBezTo>
                <a:cubicBezTo>
                  <a:pt x="16443" y="10780"/>
                  <a:pt x="17060" y="11416"/>
                  <a:pt x="17060" y="11462"/>
                </a:cubicBezTo>
                <a:cubicBezTo>
                  <a:pt x="17060" y="11485"/>
                  <a:pt x="17014" y="11596"/>
                  <a:pt x="16958" y="11708"/>
                </a:cubicBezTo>
                <a:cubicBezTo>
                  <a:pt x="16764" y="12092"/>
                  <a:pt x="16714" y="12258"/>
                  <a:pt x="16711" y="12519"/>
                </a:cubicBezTo>
                <a:cubicBezTo>
                  <a:pt x="16707" y="12806"/>
                  <a:pt x="16760" y="12979"/>
                  <a:pt x="16913" y="13182"/>
                </a:cubicBezTo>
                <a:cubicBezTo>
                  <a:pt x="17117" y="13452"/>
                  <a:pt x="17419" y="13600"/>
                  <a:pt x="17947" y="13689"/>
                </a:cubicBezTo>
                <a:cubicBezTo>
                  <a:pt x="18086" y="13712"/>
                  <a:pt x="18211" y="13743"/>
                  <a:pt x="18226" y="13758"/>
                </a:cubicBezTo>
                <a:cubicBezTo>
                  <a:pt x="18262" y="13794"/>
                  <a:pt x="18347" y="14224"/>
                  <a:pt x="18388" y="14578"/>
                </a:cubicBezTo>
                <a:cubicBezTo>
                  <a:pt x="18417" y="14826"/>
                  <a:pt x="18416" y="14877"/>
                  <a:pt x="18383" y="14897"/>
                </a:cubicBezTo>
                <a:cubicBezTo>
                  <a:pt x="18362" y="14910"/>
                  <a:pt x="18212" y="14993"/>
                  <a:pt x="18049" y="15081"/>
                </a:cubicBezTo>
                <a:cubicBezTo>
                  <a:pt x="17442" y="15412"/>
                  <a:pt x="17190" y="15839"/>
                  <a:pt x="17298" y="16355"/>
                </a:cubicBezTo>
                <a:cubicBezTo>
                  <a:pt x="17357" y="16636"/>
                  <a:pt x="17458" y="16805"/>
                  <a:pt x="17759" y="17123"/>
                </a:cubicBezTo>
                <a:cubicBezTo>
                  <a:pt x="17989" y="17367"/>
                  <a:pt x="18016" y="17407"/>
                  <a:pt x="17994" y="17465"/>
                </a:cubicBezTo>
                <a:cubicBezTo>
                  <a:pt x="17928" y="17639"/>
                  <a:pt x="17781" y="17939"/>
                  <a:pt x="17651" y="18166"/>
                </a:cubicBezTo>
                <a:cubicBezTo>
                  <a:pt x="17487" y="18454"/>
                  <a:pt x="17532" y="18438"/>
                  <a:pt x="17062" y="18373"/>
                </a:cubicBezTo>
                <a:cubicBezTo>
                  <a:pt x="16804" y="18337"/>
                  <a:pt x="16706" y="18335"/>
                  <a:pt x="16555" y="18360"/>
                </a:cubicBezTo>
                <a:cubicBezTo>
                  <a:pt x="16043" y="18448"/>
                  <a:pt x="15693" y="18799"/>
                  <a:pt x="15618" y="19300"/>
                </a:cubicBezTo>
                <a:cubicBezTo>
                  <a:pt x="15599" y="19431"/>
                  <a:pt x="15604" y="19566"/>
                  <a:pt x="15639" y="19832"/>
                </a:cubicBezTo>
                <a:cubicBezTo>
                  <a:pt x="15665" y="20028"/>
                  <a:pt x="15679" y="20206"/>
                  <a:pt x="15671" y="20228"/>
                </a:cubicBezTo>
                <a:cubicBezTo>
                  <a:pt x="15652" y="20277"/>
                  <a:pt x="15205" y="20527"/>
                  <a:pt x="14893" y="20662"/>
                </a:cubicBezTo>
                <a:lnTo>
                  <a:pt x="14659" y="20763"/>
                </a:lnTo>
                <a:lnTo>
                  <a:pt x="14381" y="20499"/>
                </a:lnTo>
                <a:cubicBezTo>
                  <a:pt x="13966" y="20105"/>
                  <a:pt x="13648" y="19973"/>
                  <a:pt x="13254" y="20033"/>
                </a:cubicBezTo>
                <a:cubicBezTo>
                  <a:pt x="12867" y="20092"/>
                  <a:pt x="12596" y="20323"/>
                  <a:pt x="12323" y="20827"/>
                </a:cubicBezTo>
                <a:lnTo>
                  <a:pt x="12146" y="21155"/>
                </a:lnTo>
                <a:lnTo>
                  <a:pt x="12028" y="21152"/>
                </a:lnTo>
                <a:cubicBezTo>
                  <a:pt x="11963" y="21151"/>
                  <a:pt x="11795" y="21132"/>
                  <a:pt x="11656" y="21110"/>
                </a:cubicBezTo>
                <a:close/>
                <a:moveTo>
                  <a:pt x="12982" y="17771"/>
                </a:moveTo>
                <a:cubicBezTo>
                  <a:pt x="14004" y="17559"/>
                  <a:pt x="14743" y="16853"/>
                  <a:pt x="15016" y="15828"/>
                </a:cubicBezTo>
                <a:cubicBezTo>
                  <a:pt x="15078" y="15592"/>
                  <a:pt x="15099" y="15131"/>
                  <a:pt x="15059" y="14870"/>
                </a:cubicBezTo>
                <a:cubicBezTo>
                  <a:pt x="14973" y="14315"/>
                  <a:pt x="14739" y="13841"/>
                  <a:pt x="14354" y="13441"/>
                </a:cubicBezTo>
                <a:cubicBezTo>
                  <a:pt x="13459" y="12510"/>
                  <a:pt x="12074" y="12375"/>
                  <a:pt x="11006" y="13114"/>
                </a:cubicBezTo>
                <a:cubicBezTo>
                  <a:pt x="10546" y="13432"/>
                  <a:pt x="10195" y="13912"/>
                  <a:pt x="10024" y="14456"/>
                </a:cubicBezTo>
                <a:cubicBezTo>
                  <a:pt x="9828" y="15077"/>
                  <a:pt x="9870" y="15733"/>
                  <a:pt x="10143" y="16316"/>
                </a:cubicBezTo>
                <a:cubicBezTo>
                  <a:pt x="10281" y="16610"/>
                  <a:pt x="10386" y="16763"/>
                  <a:pt x="10622" y="17013"/>
                </a:cubicBezTo>
                <a:cubicBezTo>
                  <a:pt x="11230" y="17658"/>
                  <a:pt x="12132" y="17948"/>
                  <a:pt x="12982" y="17771"/>
                </a:cubicBezTo>
                <a:close/>
                <a:moveTo>
                  <a:pt x="4906" y="12317"/>
                </a:moveTo>
                <a:cubicBezTo>
                  <a:pt x="4889" y="12296"/>
                  <a:pt x="4827" y="12184"/>
                  <a:pt x="4769" y="12068"/>
                </a:cubicBezTo>
                <a:cubicBezTo>
                  <a:pt x="4626" y="11783"/>
                  <a:pt x="4553" y="11693"/>
                  <a:pt x="4357" y="11562"/>
                </a:cubicBezTo>
                <a:cubicBezTo>
                  <a:pt x="3958" y="11295"/>
                  <a:pt x="3531" y="11365"/>
                  <a:pt x="3091" y="11768"/>
                </a:cubicBezTo>
                <a:cubicBezTo>
                  <a:pt x="2980" y="11871"/>
                  <a:pt x="2869" y="11955"/>
                  <a:pt x="2845" y="11955"/>
                </a:cubicBezTo>
                <a:cubicBezTo>
                  <a:pt x="2786" y="11955"/>
                  <a:pt x="2206" y="11651"/>
                  <a:pt x="2131" y="11582"/>
                </a:cubicBezTo>
                <a:cubicBezTo>
                  <a:pt x="2099" y="11552"/>
                  <a:pt x="2078" y="11506"/>
                  <a:pt x="2086" y="11480"/>
                </a:cubicBezTo>
                <a:cubicBezTo>
                  <a:pt x="2127" y="11337"/>
                  <a:pt x="2164" y="10941"/>
                  <a:pt x="2148" y="10802"/>
                </a:cubicBezTo>
                <a:cubicBezTo>
                  <a:pt x="2106" y="10438"/>
                  <a:pt x="1856" y="10139"/>
                  <a:pt x="1504" y="10032"/>
                </a:cubicBezTo>
                <a:cubicBezTo>
                  <a:pt x="1334" y="9980"/>
                  <a:pt x="1270" y="9975"/>
                  <a:pt x="1048" y="9993"/>
                </a:cubicBezTo>
                <a:cubicBezTo>
                  <a:pt x="574" y="10031"/>
                  <a:pt x="645" y="10070"/>
                  <a:pt x="445" y="9670"/>
                </a:cubicBezTo>
                <a:cubicBezTo>
                  <a:pt x="347" y="9476"/>
                  <a:pt x="268" y="9294"/>
                  <a:pt x="268" y="9265"/>
                </a:cubicBezTo>
                <a:cubicBezTo>
                  <a:pt x="268" y="9236"/>
                  <a:pt x="363" y="9118"/>
                  <a:pt x="479" y="9001"/>
                </a:cubicBezTo>
                <a:cubicBezTo>
                  <a:pt x="761" y="8720"/>
                  <a:pt x="867" y="8504"/>
                  <a:pt x="867" y="8214"/>
                </a:cubicBezTo>
                <a:cubicBezTo>
                  <a:pt x="867" y="7836"/>
                  <a:pt x="690" y="7576"/>
                  <a:pt x="254" y="7316"/>
                </a:cubicBezTo>
                <a:lnTo>
                  <a:pt x="0" y="7165"/>
                </a:lnTo>
                <a:lnTo>
                  <a:pt x="7" y="6985"/>
                </a:lnTo>
                <a:cubicBezTo>
                  <a:pt x="11" y="6885"/>
                  <a:pt x="40" y="6687"/>
                  <a:pt x="72" y="6544"/>
                </a:cubicBezTo>
                <a:lnTo>
                  <a:pt x="131" y="6285"/>
                </a:lnTo>
                <a:lnTo>
                  <a:pt x="263" y="6267"/>
                </a:lnTo>
                <a:cubicBezTo>
                  <a:pt x="732" y="6206"/>
                  <a:pt x="980" y="6106"/>
                  <a:pt x="1167" y="5902"/>
                </a:cubicBezTo>
                <a:cubicBezTo>
                  <a:pt x="1457" y="5588"/>
                  <a:pt x="1484" y="5236"/>
                  <a:pt x="1257" y="4726"/>
                </a:cubicBezTo>
                <a:cubicBezTo>
                  <a:pt x="1194" y="4585"/>
                  <a:pt x="1143" y="4457"/>
                  <a:pt x="1143" y="4444"/>
                </a:cubicBezTo>
                <a:cubicBezTo>
                  <a:pt x="1143" y="4403"/>
                  <a:pt x="1343" y="4194"/>
                  <a:pt x="1564" y="4005"/>
                </a:cubicBezTo>
                <a:lnTo>
                  <a:pt x="1773" y="3827"/>
                </a:lnTo>
                <a:lnTo>
                  <a:pt x="2001" y="3947"/>
                </a:lnTo>
                <a:cubicBezTo>
                  <a:pt x="2289" y="4100"/>
                  <a:pt x="2427" y="4141"/>
                  <a:pt x="2657" y="4141"/>
                </a:cubicBezTo>
                <a:cubicBezTo>
                  <a:pt x="2905" y="4141"/>
                  <a:pt x="3089" y="4074"/>
                  <a:pt x="3257" y="3922"/>
                </a:cubicBezTo>
                <a:cubicBezTo>
                  <a:pt x="3436" y="3762"/>
                  <a:pt x="3530" y="3569"/>
                  <a:pt x="3602" y="3217"/>
                </a:cubicBezTo>
                <a:cubicBezTo>
                  <a:pt x="3633" y="3064"/>
                  <a:pt x="3664" y="2933"/>
                  <a:pt x="3670" y="2927"/>
                </a:cubicBezTo>
                <a:cubicBezTo>
                  <a:pt x="3690" y="2907"/>
                  <a:pt x="4086" y="2844"/>
                  <a:pt x="4319" y="2824"/>
                </a:cubicBezTo>
                <a:lnTo>
                  <a:pt x="4544" y="2805"/>
                </a:lnTo>
                <a:lnTo>
                  <a:pt x="4671" y="3064"/>
                </a:lnTo>
                <a:cubicBezTo>
                  <a:pt x="4935" y="3605"/>
                  <a:pt x="5356" y="3849"/>
                  <a:pt x="5814" y="3727"/>
                </a:cubicBezTo>
                <a:cubicBezTo>
                  <a:pt x="6033" y="3669"/>
                  <a:pt x="6166" y="3590"/>
                  <a:pt x="6397" y="3378"/>
                </a:cubicBezTo>
                <a:cubicBezTo>
                  <a:pt x="6500" y="3283"/>
                  <a:pt x="6602" y="3206"/>
                  <a:pt x="6624" y="3206"/>
                </a:cubicBezTo>
                <a:cubicBezTo>
                  <a:pt x="6686" y="3206"/>
                  <a:pt x="7335" y="3550"/>
                  <a:pt x="7365" y="3600"/>
                </a:cubicBezTo>
                <a:cubicBezTo>
                  <a:pt x="7373" y="3611"/>
                  <a:pt x="7359" y="3740"/>
                  <a:pt x="7335" y="3886"/>
                </a:cubicBezTo>
                <a:cubicBezTo>
                  <a:pt x="7280" y="4218"/>
                  <a:pt x="7296" y="4421"/>
                  <a:pt x="7395" y="4642"/>
                </a:cubicBezTo>
                <a:cubicBezTo>
                  <a:pt x="7486" y="4844"/>
                  <a:pt x="7634" y="4989"/>
                  <a:pt x="7849" y="5088"/>
                </a:cubicBezTo>
                <a:cubicBezTo>
                  <a:pt x="8041" y="5175"/>
                  <a:pt x="8230" y="5194"/>
                  <a:pt x="8551" y="5158"/>
                </a:cubicBezTo>
                <a:cubicBezTo>
                  <a:pt x="8742" y="5136"/>
                  <a:pt x="8814" y="5137"/>
                  <a:pt x="8838" y="5162"/>
                </a:cubicBezTo>
                <a:cubicBezTo>
                  <a:pt x="8887" y="5211"/>
                  <a:pt x="9110" y="5656"/>
                  <a:pt x="9156" y="5794"/>
                </a:cubicBezTo>
                <a:lnTo>
                  <a:pt x="9195" y="5914"/>
                </a:lnTo>
                <a:lnTo>
                  <a:pt x="8984" y="6135"/>
                </a:lnTo>
                <a:cubicBezTo>
                  <a:pt x="8713" y="6418"/>
                  <a:pt x="8612" y="6617"/>
                  <a:pt x="8598" y="6894"/>
                </a:cubicBezTo>
                <a:cubicBezTo>
                  <a:pt x="8591" y="7033"/>
                  <a:pt x="8603" y="7141"/>
                  <a:pt x="8636" y="7241"/>
                </a:cubicBezTo>
                <a:cubicBezTo>
                  <a:pt x="8705" y="7449"/>
                  <a:pt x="8937" y="7688"/>
                  <a:pt x="9231" y="7855"/>
                </a:cubicBezTo>
                <a:lnTo>
                  <a:pt x="9468" y="7989"/>
                </a:lnTo>
                <a:lnTo>
                  <a:pt x="9468" y="8124"/>
                </a:lnTo>
                <a:cubicBezTo>
                  <a:pt x="9469" y="8236"/>
                  <a:pt x="9392" y="8654"/>
                  <a:pt x="9339" y="8827"/>
                </a:cubicBezTo>
                <a:cubicBezTo>
                  <a:pt x="9329" y="8861"/>
                  <a:pt x="9279" y="8880"/>
                  <a:pt x="9164" y="8893"/>
                </a:cubicBezTo>
                <a:cubicBezTo>
                  <a:pt x="8747" y="8941"/>
                  <a:pt x="8462" y="9062"/>
                  <a:pt x="8281" y="9268"/>
                </a:cubicBezTo>
                <a:cubicBezTo>
                  <a:pt x="8018" y="9568"/>
                  <a:pt x="7989" y="9939"/>
                  <a:pt x="8194" y="10399"/>
                </a:cubicBezTo>
                <a:cubicBezTo>
                  <a:pt x="8258" y="10544"/>
                  <a:pt x="8311" y="10686"/>
                  <a:pt x="8311" y="10714"/>
                </a:cubicBezTo>
                <a:cubicBezTo>
                  <a:pt x="8311" y="10779"/>
                  <a:pt x="7754" y="11305"/>
                  <a:pt x="7686" y="11305"/>
                </a:cubicBezTo>
                <a:cubicBezTo>
                  <a:pt x="7657" y="11305"/>
                  <a:pt x="7517" y="11245"/>
                  <a:pt x="7373" y="11171"/>
                </a:cubicBezTo>
                <a:cubicBezTo>
                  <a:pt x="7127" y="11045"/>
                  <a:pt x="7097" y="11037"/>
                  <a:pt x="6857" y="11028"/>
                </a:cubicBezTo>
                <a:cubicBezTo>
                  <a:pt x="6635" y="11019"/>
                  <a:pt x="6583" y="11027"/>
                  <a:pt x="6448" y="11087"/>
                </a:cubicBezTo>
                <a:cubicBezTo>
                  <a:pt x="6163" y="11215"/>
                  <a:pt x="5977" y="11460"/>
                  <a:pt x="5897" y="11813"/>
                </a:cubicBezTo>
                <a:cubicBezTo>
                  <a:pt x="5799" y="12246"/>
                  <a:pt x="5803" y="12235"/>
                  <a:pt x="5721" y="12252"/>
                </a:cubicBezTo>
                <a:cubicBezTo>
                  <a:pt x="5679" y="12261"/>
                  <a:pt x="5594" y="12279"/>
                  <a:pt x="5532" y="12293"/>
                </a:cubicBezTo>
                <a:cubicBezTo>
                  <a:pt x="5469" y="12306"/>
                  <a:pt x="5310" y="12326"/>
                  <a:pt x="5178" y="12336"/>
                </a:cubicBezTo>
                <a:cubicBezTo>
                  <a:pt x="4991" y="12351"/>
                  <a:pt x="4929" y="12347"/>
                  <a:pt x="4906" y="12317"/>
                </a:cubicBezTo>
                <a:close/>
                <a:moveTo>
                  <a:pt x="5296" y="10121"/>
                </a:moveTo>
                <a:cubicBezTo>
                  <a:pt x="5788" y="10013"/>
                  <a:pt x="6202" y="9781"/>
                  <a:pt x="6579" y="9404"/>
                </a:cubicBezTo>
                <a:cubicBezTo>
                  <a:pt x="7386" y="8597"/>
                  <a:pt x="7576" y="7438"/>
                  <a:pt x="7073" y="6395"/>
                </a:cubicBezTo>
                <a:cubicBezTo>
                  <a:pt x="6783" y="5792"/>
                  <a:pt x="6125" y="5239"/>
                  <a:pt x="5476" y="5053"/>
                </a:cubicBezTo>
                <a:cubicBezTo>
                  <a:pt x="5027" y="4924"/>
                  <a:pt x="4487" y="4919"/>
                  <a:pt x="4034" y="5041"/>
                </a:cubicBezTo>
                <a:cubicBezTo>
                  <a:pt x="3227" y="5257"/>
                  <a:pt x="2501" y="5945"/>
                  <a:pt x="2246" y="6735"/>
                </a:cubicBezTo>
                <a:cubicBezTo>
                  <a:pt x="2106" y="7167"/>
                  <a:pt x="2072" y="7600"/>
                  <a:pt x="2145" y="7989"/>
                </a:cubicBezTo>
                <a:cubicBezTo>
                  <a:pt x="2312" y="8869"/>
                  <a:pt x="2804" y="9526"/>
                  <a:pt x="3584" y="9911"/>
                </a:cubicBezTo>
                <a:cubicBezTo>
                  <a:pt x="4100" y="10166"/>
                  <a:pt x="4738" y="10245"/>
                  <a:pt x="5296" y="10121"/>
                </a:cubicBezTo>
                <a:close/>
                <a:moveTo>
                  <a:pt x="14278" y="9383"/>
                </a:moveTo>
                <a:cubicBezTo>
                  <a:pt x="14025" y="8915"/>
                  <a:pt x="13732" y="8715"/>
                  <a:pt x="13338" y="8744"/>
                </a:cubicBezTo>
                <a:cubicBezTo>
                  <a:pt x="13084" y="8762"/>
                  <a:pt x="12892" y="8865"/>
                  <a:pt x="12621" y="9128"/>
                </a:cubicBezTo>
                <a:lnTo>
                  <a:pt x="12401" y="9342"/>
                </a:lnTo>
                <a:lnTo>
                  <a:pt x="12254" y="9291"/>
                </a:lnTo>
                <a:cubicBezTo>
                  <a:pt x="12086" y="9232"/>
                  <a:pt x="11606" y="8980"/>
                  <a:pt x="11563" y="8928"/>
                </a:cubicBezTo>
                <a:cubicBezTo>
                  <a:pt x="11543" y="8903"/>
                  <a:pt x="11546" y="8802"/>
                  <a:pt x="11572" y="8599"/>
                </a:cubicBezTo>
                <a:cubicBezTo>
                  <a:pt x="11644" y="8043"/>
                  <a:pt x="11498" y="7696"/>
                  <a:pt x="11105" y="7492"/>
                </a:cubicBezTo>
                <a:cubicBezTo>
                  <a:pt x="10997" y="7436"/>
                  <a:pt x="10937" y="7426"/>
                  <a:pt x="10696" y="7426"/>
                </a:cubicBezTo>
                <a:cubicBezTo>
                  <a:pt x="10541" y="7426"/>
                  <a:pt x="10335" y="7437"/>
                  <a:pt x="10239" y="7450"/>
                </a:cubicBezTo>
                <a:lnTo>
                  <a:pt x="10065" y="7475"/>
                </a:lnTo>
                <a:lnTo>
                  <a:pt x="9976" y="7337"/>
                </a:lnTo>
                <a:cubicBezTo>
                  <a:pt x="9873" y="7176"/>
                  <a:pt x="9638" y="6697"/>
                  <a:pt x="9638" y="6648"/>
                </a:cubicBezTo>
                <a:cubicBezTo>
                  <a:pt x="9638" y="6630"/>
                  <a:pt x="9726" y="6520"/>
                  <a:pt x="9835" y="6404"/>
                </a:cubicBezTo>
                <a:cubicBezTo>
                  <a:pt x="10098" y="6122"/>
                  <a:pt x="10210" y="5895"/>
                  <a:pt x="10212" y="5639"/>
                </a:cubicBezTo>
                <a:cubicBezTo>
                  <a:pt x="10215" y="5266"/>
                  <a:pt x="10004" y="4978"/>
                  <a:pt x="9558" y="4748"/>
                </a:cubicBezTo>
                <a:cubicBezTo>
                  <a:pt x="9419" y="4676"/>
                  <a:pt x="9299" y="4601"/>
                  <a:pt x="9292" y="4582"/>
                </a:cubicBezTo>
                <a:cubicBezTo>
                  <a:pt x="9275" y="4536"/>
                  <a:pt x="9341" y="3994"/>
                  <a:pt x="9385" y="3819"/>
                </a:cubicBezTo>
                <a:cubicBezTo>
                  <a:pt x="9404" y="3744"/>
                  <a:pt x="9440" y="3673"/>
                  <a:pt x="9465" y="3659"/>
                </a:cubicBezTo>
                <a:cubicBezTo>
                  <a:pt x="9490" y="3646"/>
                  <a:pt x="9619" y="3614"/>
                  <a:pt x="9751" y="3587"/>
                </a:cubicBezTo>
                <a:cubicBezTo>
                  <a:pt x="10326" y="3473"/>
                  <a:pt x="10615" y="3204"/>
                  <a:pt x="10647" y="2754"/>
                </a:cubicBezTo>
                <a:cubicBezTo>
                  <a:pt x="10663" y="2534"/>
                  <a:pt x="10620" y="2379"/>
                  <a:pt x="10450" y="2040"/>
                </a:cubicBezTo>
                <a:cubicBezTo>
                  <a:pt x="10346" y="1834"/>
                  <a:pt x="10342" y="1815"/>
                  <a:pt x="10382" y="1754"/>
                </a:cubicBezTo>
                <a:cubicBezTo>
                  <a:pt x="10457" y="1639"/>
                  <a:pt x="10966" y="1145"/>
                  <a:pt x="11010" y="1145"/>
                </a:cubicBezTo>
                <a:cubicBezTo>
                  <a:pt x="11032" y="1145"/>
                  <a:pt x="11181" y="1205"/>
                  <a:pt x="11339" y="1279"/>
                </a:cubicBezTo>
                <a:cubicBezTo>
                  <a:pt x="11612" y="1405"/>
                  <a:pt x="11640" y="1412"/>
                  <a:pt x="11867" y="1411"/>
                </a:cubicBezTo>
                <a:cubicBezTo>
                  <a:pt x="12151" y="1410"/>
                  <a:pt x="12260" y="1370"/>
                  <a:pt x="12447" y="1198"/>
                </a:cubicBezTo>
                <a:cubicBezTo>
                  <a:pt x="12625" y="1034"/>
                  <a:pt x="12710" y="852"/>
                  <a:pt x="12774" y="500"/>
                </a:cubicBezTo>
                <a:cubicBezTo>
                  <a:pt x="12803" y="337"/>
                  <a:pt x="12843" y="193"/>
                  <a:pt x="12862" y="181"/>
                </a:cubicBezTo>
                <a:cubicBezTo>
                  <a:pt x="12981" y="107"/>
                  <a:pt x="13718" y="0"/>
                  <a:pt x="13777" y="48"/>
                </a:cubicBezTo>
                <a:cubicBezTo>
                  <a:pt x="13798" y="66"/>
                  <a:pt x="13868" y="177"/>
                  <a:pt x="13933" y="295"/>
                </a:cubicBezTo>
                <a:cubicBezTo>
                  <a:pt x="14171" y="726"/>
                  <a:pt x="14451" y="931"/>
                  <a:pt x="14801" y="931"/>
                </a:cubicBezTo>
                <a:cubicBezTo>
                  <a:pt x="15067" y="931"/>
                  <a:pt x="15287" y="822"/>
                  <a:pt x="15586" y="540"/>
                </a:cubicBezTo>
                <a:cubicBezTo>
                  <a:pt x="15819" y="321"/>
                  <a:pt x="15819" y="321"/>
                  <a:pt x="15911" y="357"/>
                </a:cubicBezTo>
                <a:cubicBezTo>
                  <a:pt x="16083" y="425"/>
                  <a:pt x="16538" y="659"/>
                  <a:pt x="16605" y="713"/>
                </a:cubicBezTo>
                <a:cubicBezTo>
                  <a:pt x="16671" y="767"/>
                  <a:pt x="16672" y="772"/>
                  <a:pt x="16640" y="1003"/>
                </a:cubicBezTo>
                <a:cubicBezTo>
                  <a:pt x="16571" y="1520"/>
                  <a:pt x="16627" y="1760"/>
                  <a:pt x="16875" y="2008"/>
                </a:cubicBezTo>
                <a:cubicBezTo>
                  <a:pt x="17112" y="2245"/>
                  <a:pt x="17439" y="2312"/>
                  <a:pt x="17915" y="2220"/>
                </a:cubicBezTo>
                <a:cubicBezTo>
                  <a:pt x="18089" y="2186"/>
                  <a:pt x="18112" y="2187"/>
                  <a:pt x="18161" y="2232"/>
                </a:cubicBezTo>
                <a:cubicBezTo>
                  <a:pt x="18232" y="2296"/>
                  <a:pt x="18556" y="2937"/>
                  <a:pt x="18556" y="3013"/>
                </a:cubicBezTo>
                <a:cubicBezTo>
                  <a:pt x="18556" y="3048"/>
                  <a:pt x="18475" y="3158"/>
                  <a:pt x="18359" y="3279"/>
                </a:cubicBezTo>
                <a:cubicBezTo>
                  <a:pt x="18251" y="3393"/>
                  <a:pt x="18128" y="3553"/>
                  <a:pt x="18085" y="3635"/>
                </a:cubicBezTo>
                <a:cubicBezTo>
                  <a:pt x="18016" y="3766"/>
                  <a:pt x="18006" y="3815"/>
                  <a:pt x="18006" y="4038"/>
                </a:cubicBezTo>
                <a:cubicBezTo>
                  <a:pt x="18006" y="4250"/>
                  <a:pt x="18017" y="4313"/>
                  <a:pt x="18072" y="4416"/>
                </a:cubicBezTo>
                <a:cubicBezTo>
                  <a:pt x="18170" y="4601"/>
                  <a:pt x="18348" y="4755"/>
                  <a:pt x="18644" y="4914"/>
                </a:cubicBezTo>
                <a:lnTo>
                  <a:pt x="18909" y="5056"/>
                </a:lnTo>
                <a:lnTo>
                  <a:pt x="18903" y="5239"/>
                </a:lnTo>
                <a:cubicBezTo>
                  <a:pt x="18894" y="5490"/>
                  <a:pt x="18809" y="5965"/>
                  <a:pt x="18767" y="6001"/>
                </a:cubicBezTo>
                <a:cubicBezTo>
                  <a:pt x="18747" y="6017"/>
                  <a:pt x="18619" y="6049"/>
                  <a:pt x="18482" y="6073"/>
                </a:cubicBezTo>
                <a:cubicBezTo>
                  <a:pt x="18047" y="6148"/>
                  <a:pt x="17778" y="6317"/>
                  <a:pt x="17641" y="6602"/>
                </a:cubicBezTo>
                <a:cubicBezTo>
                  <a:pt x="17498" y="6901"/>
                  <a:pt x="17523" y="7152"/>
                  <a:pt x="17737" y="7578"/>
                </a:cubicBezTo>
                <a:cubicBezTo>
                  <a:pt x="17799" y="7703"/>
                  <a:pt x="17851" y="7825"/>
                  <a:pt x="17851" y="7849"/>
                </a:cubicBezTo>
                <a:cubicBezTo>
                  <a:pt x="17851" y="7894"/>
                  <a:pt x="17312" y="8468"/>
                  <a:pt x="17226" y="8513"/>
                </a:cubicBezTo>
                <a:cubicBezTo>
                  <a:pt x="17194" y="8530"/>
                  <a:pt x="17109" y="8503"/>
                  <a:pt x="16944" y="8423"/>
                </a:cubicBezTo>
                <a:cubicBezTo>
                  <a:pt x="16491" y="8203"/>
                  <a:pt x="16158" y="8189"/>
                  <a:pt x="15867" y="8375"/>
                </a:cubicBezTo>
                <a:cubicBezTo>
                  <a:pt x="15618" y="8535"/>
                  <a:pt x="15485" y="8786"/>
                  <a:pt x="15422" y="9214"/>
                </a:cubicBezTo>
                <a:cubicBezTo>
                  <a:pt x="15395" y="9399"/>
                  <a:pt x="15376" y="9454"/>
                  <a:pt x="15327" y="9486"/>
                </a:cubicBezTo>
                <a:cubicBezTo>
                  <a:pt x="15263" y="9528"/>
                  <a:pt x="14667" y="9640"/>
                  <a:pt x="14508" y="9640"/>
                </a:cubicBezTo>
                <a:cubicBezTo>
                  <a:pt x="14422" y="9640"/>
                  <a:pt x="14409" y="9626"/>
                  <a:pt x="14278" y="9383"/>
                </a:cubicBezTo>
                <a:close/>
                <a:moveTo>
                  <a:pt x="14831" y="7283"/>
                </a:moveTo>
                <a:cubicBezTo>
                  <a:pt x="15713" y="7003"/>
                  <a:pt x="16329" y="6369"/>
                  <a:pt x="16586" y="5475"/>
                </a:cubicBezTo>
                <a:cubicBezTo>
                  <a:pt x="16641" y="5284"/>
                  <a:pt x="16650" y="5188"/>
                  <a:pt x="16649" y="4814"/>
                </a:cubicBezTo>
                <a:cubicBezTo>
                  <a:pt x="16648" y="4339"/>
                  <a:pt x="16623" y="4203"/>
                  <a:pt x="16468" y="3828"/>
                </a:cubicBezTo>
                <a:cubicBezTo>
                  <a:pt x="16301" y="3422"/>
                  <a:pt x="15961" y="2998"/>
                  <a:pt x="15582" y="2721"/>
                </a:cubicBezTo>
                <a:cubicBezTo>
                  <a:pt x="15416" y="2600"/>
                  <a:pt x="15073" y="2431"/>
                  <a:pt x="14859" y="2366"/>
                </a:cubicBezTo>
                <a:cubicBezTo>
                  <a:pt x="13949" y="2089"/>
                  <a:pt x="12954" y="2336"/>
                  <a:pt x="12289" y="3005"/>
                </a:cubicBezTo>
                <a:cubicBezTo>
                  <a:pt x="11187" y="4113"/>
                  <a:pt x="11306" y="5897"/>
                  <a:pt x="12547" y="6861"/>
                </a:cubicBezTo>
                <a:cubicBezTo>
                  <a:pt x="12840" y="7088"/>
                  <a:pt x="13196" y="7252"/>
                  <a:pt x="13589" y="7341"/>
                </a:cubicBezTo>
                <a:cubicBezTo>
                  <a:pt x="13720" y="7370"/>
                  <a:pt x="13889" y="7379"/>
                  <a:pt x="14182" y="7370"/>
                </a:cubicBezTo>
                <a:cubicBezTo>
                  <a:pt x="14528" y="7361"/>
                  <a:pt x="14628" y="7347"/>
                  <a:pt x="14831" y="728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accent6"/>
              </a:solidFill>
              <a:latin typeface="+mn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348413" y="1702061"/>
            <a:ext cx="4637133" cy="2637613"/>
            <a:chOff x="6348413" y="1702061"/>
            <a:chExt cx="4637133" cy="2637613"/>
          </a:xfrm>
        </p:grpSpPr>
        <p:sp>
          <p:nvSpPr>
            <p:cNvPr id="476" name="Freeform 475"/>
            <p:cNvSpPr/>
            <p:nvPr/>
          </p:nvSpPr>
          <p:spPr>
            <a:xfrm>
              <a:off x="6348413" y="2122489"/>
              <a:ext cx="605739" cy="2217185"/>
            </a:xfrm>
            <a:custGeom>
              <a:avLst/>
              <a:gdLst>
                <a:gd name="connsiteX0" fmla="*/ 634314 w 634314"/>
                <a:gd name="connsiteY0" fmla="*/ 0 h 1960606"/>
                <a:gd name="connsiteX1" fmla="*/ 420130 w 634314"/>
                <a:gd name="connsiteY1" fmla="*/ 0 h 1960606"/>
                <a:gd name="connsiteX2" fmla="*/ 420130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420130 w 634314"/>
                <a:gd name="connsiteY1" fmla="*/ 0 h 1960606"/>
                <a:gd name="connsiteX2" fmla="*/ 262967 w 634314"/>
                <a:gd name="connsiteY2" fmla="*/ 1955843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243918 w 634314"/>
                <a:gd name="connsiteY1" fmla="*/ 0 h 1960606"/>
                <a:gd name="connsiteX2" fmla="*/ 262967 w 634314"/>
                <a:gd name="connsiteY2" fmla="*/ 1955843 h 1960606"/>
                <a:gd name="connsiteX3" fmla="*/ 0 w 634314"/>
                <a:gd name="connsiteY3" fmla="*/ 1960606 h 1960606"/>
                <a:gd name="connsiteX0" fmla="*/ 634314 w 634314"/>
                <a:gd name="connsiteY0" fmla="*/ 9525 h 1970131"/>
                <a:gd name="connsiteX1" fmla="*/ 258205 w 634314"/>
                <a:gd name="connsiteY1" fmla="*/ 0 h 1970131"/>
                <a:gd name="connsiteX2" fmla="*/ 262967 w 634314"/>
                <a:gd name="connsiteY2" fmla="*/ 1965368 h 1970131"/>
                <a:gd name="connsiteX3" fmla="*/ 0 w 634314"/>
                <a:gd name="connsiteY3" fmla="*/ 1970131 h 1970131"/>
                <a:gd name="connsiteX0" fmla="*/ 634314 w 634314"/>
                <a:gd name="connsiteY0" fmla="*/ 0 h 1960606"/>
                <a:gd name="connsiteX1" fmla="*/ 253443 w 634314"/>
                <a:gd name="connsiteY1" fmla="*/ 9525 h 1960606"/>
                <a:gd name="connsiteX2" fmla="*/ 262967 w 634314"/>
                <a:gd name="connsiteY2" fmla="*/ 1955843 h 1960606"/>
                <a:gd name="connsiteX3" fmla="*/ 0 w 634314"/>
                <a:gd name="connsiteY3" fmla="*/ 1960606 h 1960606"/>
                <a:gd name="connsiteX0" fmla="*/ 634314 w 634314"/>
                <a:gd name="connsiteY0" fmla="*/ 4763 h 1965369"/>
                <a:gd name="connsiteX1" fmla="*/ 258205 w 634314"/>
                <a:gd name="connsiteY1" fmla="*/ 0 h 1965369"/>
                <a:gd name="connsiteX2" fmla="*/ 262967 w 634314"/>
                <a:gd name="connsiteY2" fmla="*/ 1960606 h 1965369"/>
                <a:gd name="connsiteX3" fmla="*/ 0 w 634314"/>
                <a:gd name="connsiteY3" fmla="*/ 1965369 h 1965369"/>
                <a:gd name="connsiteX0" fmla="*/ 634314 w 634314"/>
                <a:gd name="connsiteY0" fmla="*/ 0 h 1960606"/>
                <a:gd name="connsiteX1" fmla="*/ 262967 w 634314"/>
                <a:gd name="connsiteY1" fmla="*/ 9525 h 1960606"/>
                <a:gd name="connsiteX2" fmla="*/ 262967 w 634314"/>
                <a:gd name="connsiteY2" fmla="*/ 1955843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262967 w 634314"/>
                <a:gd name="connsiteY1" fmla="*/ 0 h 1960606"/>
                <a:gd name="connsiteX2" fmla="*/ 262967 w 634314"/>
                <a:gd name="connsiteY2" fmla="*/ 1955843 h 1960606"/>
                <a:gd name="connsiteX3" fmla="*/ 0 w 634314"/>
                <a:gd name="connsiteY3" fmla="*/ 1960606 h 1960606"/>
                <a:gd name="connsiteX0" fmla="*/ 605739 w 605739"/>
                <a:gd name="connsiteY0" fmla="*/ 0 h 1955991"/>
                <a:gd name="connsiteX1" fmla="*/ 234392 w 605739"/>
                <a:gd name="connsiteY1" fmla="*/ 0 h 1955991"/>
                <a:gd name="connsiteX2" fmla="*/ 234392 w 605739"/>
                <a:gd name="connsiteY2" fmla="*/ 1955843 h 1955991"/>
                <a:gd name="connsiteX3" fmla="*/ 0 w 605739"/>
                <a:gd name="connsiteY3" fmla="*/ 1955991 h 1955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5739" h="1955991">
                  <a:moveTo>
                    <a:pt x="605739" y="0"/>
                  </a:moveTo>
                  <a:lnTo>
                    <a:pt x="234392" y="0"/>
                  </a:lnTo>
                  <a:cubicBezTo>
                    <a:pt x="235979" y="655123"/>
                    <a:pt x="232805" y="1300720"/>
                    <a:pt x="234392" y="1955843"/>
                  </a:cubicBezTo>
                  <a:lnTo>
                    <a:pt x="0" y="1955991"/>
                  </a:lnTo>
                </a:path>
              </a:pathLst>
            </a:custGeom>
            <a:noFill/>
            <a:ln w="9525">
              <a:solidFill>
                <a:schemeClr val="accent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6899275" y="1702061"/>
              <a:ext cx="4086271" cy="814127"/>
              <a:chOff x="6899275" y="2770188"/>
              <a:chExt cx="4086271" cy="814127"/>
            </a:xfrm>
          </p:grpSpPr>
          <p:grpSp>
            <p:nvGrpSpPr>
              <p:cNvPr id="28" name="Group 27"/>
              <p:cNvGrpSpPr>
                <a:grpSpLocks/>
              </p:cNvGrpSpPr>
              <p:nvPr/>
            </p:nvGrpSpPr>
            <p:grpSpPr>
              <a:xfrm>
                <a:off x="6899275" y="2770188"/>
                <a:ext cx="814129" cy="814127"/>
                <a:chOff x="6119433" y="3367327"/>
                <a:chExt cx="584949" cy="584948"/>
              </a:xfrm>
            </p:grpSpPr>
            <p:sp>
              <p:nvSpPr>
                <p:cNvPr id="525" name="Oval 10"/>
                <p:cNvSpPr>
                  <a:spLocks noChangeArrowheads="1"/>
                </p:cNvSpPr>
                <p:nvPr>
                  <p:custDataLst>
                    <p:tags r:id="rId46"/>
                  </p:custDataLst>
                </p:nvPr>
              </p:nvSpPr>
              <p:spPr bwMode="auto">
                <a:xfrm>
                  <a:off x="6119433" y="3367327"/>
                  <a:ext cx="584949" cy="58494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/>
              </p:spPr>
              <p:txBody>
                <a:bodyPr wrap="none" anchor="ctr">
                  <a:noAutofit/>
                </a:bodyPr>
                <a:lstStyle>
                  <a:lvl1pPr defTabSz="895350">
                    <a:buClr>
                      <a:schemeClr val="tx2"/>
                    </a:buCl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193675" indent="-192088" defTabSz="895350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457200" indent="-261938" defTabSz="895350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614363" indent="-155575" defTabSz="895350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746125" indent="-130175" defTabSz="895350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12033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16605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21177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25749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en-US">
                    <a:latin typeface="+mn-lt"/>
                  </a:endParaRPr>
                </a:p>
              </p:txBody>
            </p:sp>
            <p:grpSp>
              <p:nvGrpSpPr>
                <p:cNvPr id="526" name="Group 525"/>
                <p:cNvGrpSpPr/>
                <p:nvPr/>
              </p:nvGrpSpPr>
              <p:grpSpPr>
                <a:xfrm>
                  <a:off x="6229181" y="3447602"/>
                  <a:ext cx="365454" cy="424397"/>
                  <a:chOff x="1624008" y="3217850"/>
                  <a:chExt cx="984247" cy="1142994"/>
                </a:xfrm>
                <a:solidFill>
                  <a:schemeClr val="bg1"/>
                </a:solidFill>
              </p:grpSpPr>
              <p:sp>
                <p:nvSpPr>
                  <p:cNvPr id="527" name="Freeform 10"/>
                  <p:cNvSpPr>
                    <a:spLocks/>
                  </p:cNvSpPr>
                  <p:nvPr/>
                </p:nvSpPr>
                <p:spPr bwMode="auto">
                  <a:xfrm>
                    <a:off x="1687509" y="4189395"/>
                    <a:ext cx="95251" cy="66675"/>
                  </a:xfrm>
                  <a:custGeom>
                    <a:avLst/>
                    <a:gdLst>
                      <a:gd name="T0" fmla="*/ 60 w 60"/>
                      <a:gd name="T1" fmla="*/ 0 h 42"/>
                      <a:gd name="T2" fmla="*/ 60 w 60"/>
                      <a:gd name="T3" fmla="*/ 0 h 42"/>
                      <a:gd name="T4" fmla="*/ 14 w 60"/>
                      <a:gd name="T5" fmla="*/ 0 h 42"/>
                      <a:gd name="T6" fmla="*/ 14 w 60"/>
                      <a:gd name="T7" fmla="*/ 0 h 42"/>
                      <a:gd name="T8" fmla="*/ 0 w 60"/>
                      <a:gd name="T9" fmla="*/ 42 h 42"/>
                      <a:gd name="T10" fmla="*/ 0 w 60"/>
                      <a:gd name="T11" fmla="*/ 42 h 42"/>
                      <a:gd name="T12" fmla="*/ 50 w 60"/>
                      <a:gd name="T13" fmla="*/ 42 h 42"/>
                      <a:gd name="T14" fmla="*/ 50 w 60"/>
                      <a:gd name="T15" fmla="*/ 42 h 42"/>
                      <a:gd name="T16" fmla="*/ 60 w 60"/>
                      <a:gd name="T17" fmla="*/ 0 h 42"/>
                      <a:gd name="T18" fmla="*/ 60 w 60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0" h="42">
                        <a:moveTo>
                          <a:pt x="60" y="0"/>
                        </a:moveTo>
                        <a:lnTo>
                          <a:pt x="60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0" y="42"/>
                        </a:lnTo>
                        <a:lnTo>
                          <a:pt x="0" y="42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60" y="0"/>
                        </a:lnTo>
                        <a:lnTo>
                          <a:pt x="6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28" name="Freeform 11"/>
                  <p:cNvSpPr>
                    <a:spLocks/>
                  </p:cNvSpPr>
                  <p:nvPr/>
                </p:nvSpPr>
                <p:spPr bwMode="auto">
                  <a:xfrm>
                    <a:off x="2449506" y="4189395"/>
                    <a:ext cx="95251" cy="66675"/>
                  </a:xfrm>
                  <a:custGeom>
                    <a:avLst/>
                    <a:gdLst>
                      <a:gd name="T0" fmla="*/ 0 w 60"/>
                      <a:gd name="T1" fmla="*/ 0 h 42"/>
                      <a:gd name="T2" fmla="*/ 0 w 60"/>
                      <a:gd name="T3" fmla="*/ 0 h 42"/>
                      <a:gd name="T4" fmla="*/ 46 w 60"/>
                      <a:gd name="T5" fmla="*/ 0 h 42"/>
                      <a:gd name="T6" fmla="*/ 46 w 60"/>
                      <a:gd name="T7" fmla="*/ 0 h 42"/>
                      <a:gd name="T8" fmla="*/ 60 w 60"/>
                      <a:gd name="T9" fmla="*/ 42 h 42"/>
                      <a:gd name="T10" fmla="*/ 60 w 60"/>
                      <a:gd name="T11" fmla="*/ 42 h 42"/>
                      <a:gd name="T12" fmla="*/ 10 w 60"/>
                      <a:gd name="T13" fmla="*/ 42 h 42"/>
                      <a:gd name="T14" fmla="*/ 10 w 60"/>
                      <a:gd name="T15" fmla="*/ 42 h 42"/>
                      <a:gd name="T16" fmla="*/ 0 w 60"/>
                      <a:gd name="T17" fmla="*/ 0 h 42"/>
                      <a:gd name="T18" fmla="*/ 0 w 60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0" h="4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lnTo>
                          <a:pt x="60" y="42"/>
                        </a:lnTo>
                        <a:lnTo>
                          <a:pt x="60" y="42"/>
                        </a:lnTo>
                        <a:lnTo>
                          <a:pt x="10" y="42"/>
                        </a:lnTo>
                        <a:lnTo>
                          <a:pt x="10" y="4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29" name="Freeform 12"/>
                  <p:cNvSpPr>
                    <a:spLocks/>
                  </p:cNvSpPr>
                  <p:nvPr/>
                </p:nvSpPr>
                <p:spPr bwMode="auto">
                  <a:xfrm>
                    <a:off x="1712907" y="4122720"/>
                    <a:ext cx="88899" cy="57149"/>
                  </a:xfrm>
                  <a:custGeom>
                    <a:avLst/>
                    <a:gdLst>
                      <a:gd name="T0" fmla="*/ 56 w 56"/>
                      <a:gd name="T1" fmla="*/ 0 h 36"/>
                      <a:gd name="T2" fmla="*/ 56 w 56"/>
                      <a:gd name="T3" fmla="*/ 0 h 36"/>
                      <a:gd name="T4" fmla="*/ 12 w 56"/>
                      <a:gd name="T5" fmla="*/ 0 h 36"/>
                      <a:gd name="T6" fmla="*/ 12 w 56"/>
                      <a:gd name="T7" fmla="*/ 0 h 36"/>
                      <a:gd name="T8" fmla="*/ 0 w 56"/>
                      <a:gd name="T9" fmla="*/ 36 h 36"/>
                      <a:gd name="T10" fmla="*/ 0 w 56"/>
                      <a:gd name="T11" fmla="*/ 36 h 36"/>
                      <a:gd name="T12" fmla="*/ 46 w 56"/>
                      <a:gd name="T13" fmla="*/ 36 h 36"/>
                      <a:gd name="T14" fmla="*/ 46 w 56"/>
                      <a:gd name="T15" fmla="*/ 36 h 36"/>
                      <a:gd name="T16" fmla="*/ 56 w 56"/>
                      <a:gd name="T17" fmla="*/ 0 h 36"/>
                      <a:gd name="T18" fmla="*/ 56 w 56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6" h="36">
                        <a:moveTo>
                          <a:pt x="56" y="0"/>
                        </a:moveTo>
                        <a:lnTo>
                          <a:pt x="56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46" y="36"/>
                        </a:lnTo>
                        <a:lnTo>
                          <a:pt x="46" y="36"/>
                        </a:lnTo>
                        <a:lnTo>
                          <a:pt x="56" y="0"/>
                        </a:lnTo>
                        <a:lnTo>
                          <a:pt x="5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0" name="Freeform 13"/>
                  <p:cNvSpPr>
                    <a:spLocks/>
                  </p:cNvSpPr>
                  <p:nvPr/>
                </p:nvSpPr>
                <p:spPr bwMode="auto">
                  <a:xfrm>
                    <a:off x="2433631" y="4122720"/>
                    <a:ext cx="85725" cy="57149"/>
                  </a:xfrm>
                  <a:custGeom>
                    <a:avLst/>
                    <a:gdLst>
                      <a:gd name="T0" fmla="*/ 0 w 54"/>
                      <a:gd name="T1" fmla="*/ 0 h 36"/>
                      <a:gd name="T2" fmla="*/ 0 w 54"/>
                      <a:gd name="T3" fmla="*/ 0 h 36"/>
                      <a:gd name="T4" fmla="*/ 42 w 54"/>
                      <a:gd name="T5" fmla="*/ 0 h 36"/>
                      <a:gd name="T6" fmla="*/ 42 w 54"/>
                      <a:gd name="T7" fmla="*/ 0 h 36"/>
                      <a:gd name="T8" fmla="*/ 54 w 54"/>
                      <a:gd name="T9" fmla="*/ 36 h 36"/>
                      <a:gd name="T10" fmla="*/ 54 w 54"/>
                      <a:gd name="T11" fmla="*/ 36 h 36"/>
                      <a:gd name="T12" fmla="*/ 8 w 54"/>
                      <a:gd name="T13" fmla="*/ 36 h 36"/>
                      <a:gd name="T14" fmla="*/ 8 w 54"/>
                      <a:gd name="T15" fmla="*/ 36 h 36"/>
                      <a:gd name="T16" fmla="*/ 0 w 54"/>
                      <a:gd name="T17" fmla="*/ 0 h 36"/>
                      <a:gd name="T18" fmla="*/ 0 w 54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4" h="36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42" y="0"/>
                        </a:lnTo>
                        <a:lnTo>
                          <a:pt x="42" y="0"/>
                        </a:lnTo>
                        <a:lnTo>
                          <a:pt x="54" y="36"/>
                        </a:lnTo>
                        <a:lnTo>
                          <a:pt x="54" y="36"/>
                        </a:lnTo>
                        <a:lnTo>
                          <a:pt x="8" y="36"/>
                        </a:lnTo>
                        <a:lnTo>
                          <a:pt x="8" y="36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1" name="Freeform 14"/>
                  <p:cNvSpPr>
                    <a:spLocks/>
                  </p:cNvSpPr>
                  <p:nvPr/>
                </p:nvSpPr>
                <p:spPr bwMode="auto">
                  <a:xfrm>
                    <a:off x="1735131" y="4065571"/>
                    <a:ext cx="79376" cy="47625"/>
                  </a:xfrm>
                  <a:custGeom>
                    <a:avLst/>
                    <a:gdLst>
                      <a:gd name="T0" fmla="*/ 50 w 50"/>
                      <a:gd name="T1" fmla="*/ 0 h 30"/>
                      <a:gd name="T2" fmla="*/ 50 w 50"/>
                      <a:gd name="T3" fmla="*/ 0 h 30"/>
                      <a:gd name="T4" fmla="*/ 10 w 50"/>
                      <a:gd name="T5" fmla="*/ 0 h 30"/>
                      <a:gd name="T6" fmla="*/ 10 w 50"/>
                      <a:gd name="T7" fmla="*/ 0 h 30"/>
                      <a:gd name="T8" fmla="*/ 0 w 50"/>
                      <a:gd name="T9" fmla="*/ 30 h 30"/>
                      <a:gd name="T10" fmla="*/ 0 w 50"/>
                      <a:gd name="T11" fmla="*/ 30 h 30"/>
                      <a:gd name="T12" fmla="*/ 42 w 50"/>
                      <a:gd name="T13" fmla="*/ 30 h 30"/>
                      <a:gd name="T14" fmla="*/ 42 w 50"/>
                      <a:gd name="T15" fmla="*/ 30 h 30"/>
                      <a:gd name="T16" fmla="*/ 50 w 50"/>
                      <a:gd name="T17" fmla="*/ 0 h 30"/>
                      <a:gd name="T18" fmla="*/ 50 w 50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0" h="30">
                        <a:moveTo>
                          <a:pt x="50" y="0"/>
                        </a:moveTo>
                        <a:lnTo>
                          <a:pt x="50" y="0"/>
                        </a:ln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lnTo>
                          <a:pt x="50" y="0"/>
                        </a:lnTo>
                        <a:lnTo>
                          <a:pt x="5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2" name="Freeform 15"/>
                  <p:cNvSpPr>
                    <a:spLocks/>
                  </p:cNvSpPr>
                  <p:nvPr/>
                </p:nvSpPr>
                <p:spPr bwMode="auto">
                  <a:xfrm>
                    <a:off x="2420930" y="4065571"/>
                    <a:ext cx="76199" cy="47625"/>
                  </a:xfrm>
                  <a:custGeom>
                    <a:avLst/>
                    <a:gdLst>
                      <a:gd name="T0" fmla="*/ 0 w 48"/>
                      <a:gd name="T1" fmla="*/ 0 h 30"/>
                      <a:gd name="T2" fmla="*/ 0 w 48"/>
                      <a:gd name="T3" fmla="*/ 0 h 30"/>
                      <a:gd name="T4" fmla="*/ 38 w 48"/>
                      <a:gd name="T5" fmla="*/ 0 h 30"/>
                      <a:gd name="T6" fmla="*/ 38 w 48"/>
                      <a:gd name="T7" fmla="*/ 0 h 30"/>
                      <a:gd name="T8" fmla="*/ 48 w 48"/>
                      <a:gd name="T9" fmla="*/ 30 h 30"/>
                      <a:gd name="T10" fmla="*/ 48 w 48"/>
                      <a:gd name="T11" fmla="*/ 30 h 30"/>
                      <a:gd name="T12" fmla="*/ 6 w 48"/>
                      <a:gd name="T13" fmla="*/ 30 h 30"/>
                      <a:gd name="T14" fmla="*/ 6 w 48"/>
                      <a:gd name="T15" fmla="*/ 30 h 30"/>
                      <a:gd name="T16" fmla="*/ 0 w 48"/>
                      <a:gd name="T17" fmla="*/ 0 h 30"/>
                      <a:gd name="T18" fmla="*/ 0 w 48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8" h="30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38" y="0"/>
                        </a:lnTo>
                        <a:lnTo>
                          <a:pt x="38" y="0"/>
                        </a:lnTo>
                        <a:lnTo>
                          <a:pt x="48" y="30"/>
                        </a:lnTo>
                        <a:lnTo>
                          <a:pt x="48" y="30"/>
                        </a:lnTo>
                        <a:lnTo>
                          <a:pt x="6" y="30"/>
                        </a:lnTo>
                        <a:lnTo>
                          <a:pt x="6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3" name="Freeform 16"/>
                  <p:cNvSpPr>
                    <a:spLocks/>
                  </p:cNvSpPr>
                  <p:nvPr/>
                </p:nvSpPr>
                <p:spPr bwMode="auto">
                  <a:xfrm>
                    <a:off x="1814507" y="4065571"/>
                    <a:ext cx="73024" cy="47625"/>
                  </a:xfrm>
                  <a:custGeom>
                    <a:avLst/>
                    <a:gdLst>
                      <a:gd name="T0" fmla="*/ 42 w 46"/>
                      <a:gd name="T1" fmla="*/ 30 h 30"/>
                      <a:gd name="T2" fmla="*/ 42 w 46"/>
                      <a:gd name="T3" fmla="*/ 30 h 30"/>
                      <a:gd name="T4" fmla="*/ 46 w 46"/>
                      <a:gd name="T5" fmla="*/ 0 h 30"/>
                      <a:gd name="T6" fmla="*/ 46 w 46"/>
                      <a:gd name="T7" fmla="*/ 0 h 30"/>
                      <a:gd name="T8" fmla="*/ 6 w 46"/>
                      <a:gd name="T9" fmla="*/ 0 h 30"/>
                      <a:gd name="T10" fmla="*/ 6 w 46"/>
                      <a:gd name="T11" fmla="*/ 0 h 30"/>
                      <a:gd name="T12" fmla="*/ 0 w 46"/>
                      <a:gd name="T13" fmla="*/ 30 h 30"/>
                      <a:gd name="T14" fmla="*/ 0 w 46"/>
                      <a:gd name="T15" fmla="*/ 30 h 30"/>
                      <a:gd name="T16" fmla="*/ 42 w 46"/>
                      <a:gd name="T17" fmla="*/ 30 h 30"/>
                      <a:gd name="T18" fmla="*/ 42 w 46"/>
                      <a:gd name="T19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30">
                        <a:moveTo>
                          <a:pt x="42" y="30"/>
                        </a:moveTo>
                        <a:lnTo>
                          <a:pt x="42" y="30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lnTo>
                          <a:pt x="6" y="0"/>
                        </a:lnTo>
                        <a:lnTo>
                          <a:pt x="6" y="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4" name="Freeform 17"/>
                  <p:cNvSpPr>
                    <a:spLocks/>
                  </p:cNvSpPr>
                  <p:nvPr/>
                </p:nvSpPr>
                <p:spPr bwMode="auto">
                  <a:xfrm>
                    <a:off x="2347906" y="4065571"/>
                    <a:ext cx="73024" cy="47625"/>
                  </a:xfrm>
                  <a:custGeom>
                    <a:avLst/>
                    <a:gdLst>
                      <a:gd name="T0" fmla="*/ 4 w 46"/>
                      <a:gd name="T1" fmla="*/ 30 h 30"/>
                      <a:gd name="T2" fmla="*/ 4 w 46"/>
                      <a:gd name="T3" fmla="*/ 30 h 30"/>
                      <a:gd name="T4" fmla="*/ 0 w 46"/>
                      <a:gd name="T5" fmla="*/ 0 h 30"/>
                      <a:gd name="T6" fmla="*/ 0 w 46"/>
                      <a:gd name="T7" fmla="*/ 0 h 30"/>
                      <a:gd name="T8" fmla="*/ 40 w 46"/>
                      <a:gd name="T9" fmla="*/ 0 h 30"/>
                      <a:gd name="T10" fmla="*/ 40 w 46"/>
                      <a:gd name="T11" fmla="*/ 0 h 30"/>
                      <a:gd name="T12" fmla="*/ 46 w 46"/>
                      <a:gd name="T13" fmla="*/ 30 h 30"/>
                      <a:gd name="T14" fmla="*/ 46 w 46"/>
                      <a:gd name="T15" fmla="*/ 30 h 30"/>
                      <a:gd name="T16" fmla="*/ 4 w 46"/>
                      <a:gd name="T17" fmla="*/ 30 h 30"/>
                      <a:gd name="T18" fmla="*/ 4 w 46"/>
                      <a:gd name="T19" fmla="*/ 3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30">
                        <a:moveTo>
                          <a:pt x="4" y="30"/>
                        </a:moveTo>
                        <a:lnTo>
                          <a:pt x="4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0" y="0"/>
                        </a:lnTo>
                        <a:lnTo>
                          <a:pt x="40" y="0"/>
                        </a:lnTo>
                        <a:lnTo>
                          <a:pt x="46" y="30"/>
                        </a:lnTo>
                        <a:lnTo>
                          <a:pt x="46" y="30"/>
                        </a:lnTo>
                        <a:lnTo>
                          <a:pt x="4" y="30"/>
                        </a:lnTo>
                        <a:lnTo>
                          <a:pt x="4" y="3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5" name="Freeform 18"/>
                  <p:cNvSpPr>
                    <a:spLocks/>
                  </p:cNvSpPr>
                  <p:nvPr/>
                </p:nvSpPr>
                <p:spPr bwMode="auto">
                  <a:xfrm>
                    <a:off x="1798632" y="4122720"/>
                    <a:ext cx="79376" cy="57149"/>
                  </a:xfrm>
                  <a:custGeom>
                    <a:avLst/>
                    <a:gdLst>
                      <a:gd name="T0" fmla="*/ 46 w 50"/>
                      <a:gd name="T1" fmla="*/ 36 h 36"/>
                      <a:gd name="T2" fmla="*/ 46 w 50"/>
                      <a:gd name="T3" fmla="*/ 36 h 36"/>
                      <a:gd name="T4" fmla="*/ 50 w 50"/>
                      <a:gd name="T5" fmla="*/ 0 h 36"/>
                      <a:gd name="T6" fmla="*/ 50 w 50"/>
                      <a:gd name="T7" fmla="*/ 0 h 36"/>
                      <a:gd name="T8" fmla="*/ 8 w 50"/>
                      <a:gd name="T9" fmla="*/ 0 h 36"/>
                      <a:gd name="T10" fmla="*/ 8 w 50"/>
                      <a:gd name="T11" fmla="*/ 0 h 36"/>
                      <a:gd name="T12" fmla="*/ 0 w 50"/>
                      <a:gd name="T13" fmla="*/ 36 h 36"/>
                      <a:gd name="T14" fmla="*/ 0 w 50"/>
                      <a:gd name="T15" fmla="*/ 36 h 36"/>
                      <a:gd name="T16" fmla="*/ 46 w 50"/>
                      <a:gd name="T17" fmla="*/ 36 h 36"/>
                      <a:gd name="T18" fmla="*/ 46 w 50"/>
                      <a:gd name="T19" fmla="*/ 36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0" h="36">
                        <a:moveTo>
                          <a:pt x="46" y="36"/>
                        </a:moveTo>
                        <a:lnTo>
                          <a:pt x="46" y="36"/>
                        </a:lnTo>
                        <a:lnTo>
                          <a:pt x="50" y="0"/>
                        </a:lnTo>
                        <a:lnTo>
                          <a:pt x="50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46" y="36"/>
                        </a:lnTo>
                        <a:lnTo>
                          <a:pt x="46" y="3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6" name="Freeform 19"/>
                  <p:cNvSpPr>
                    <a:spLocks/>
                  </p:cNvSpPr>
                  <p:nvPr/>
                </p:nvSpPr>
                <p:spPr bwMode="auto">
                  <a:xfrm>
                    <a:off x="2354255" y="4122720"/>
                    <a:ext cx="82550" cy="57149"/>
                  </a:xfrm>
                  <a:custGeom>
                    <a:avLst/>
                    <a:gdLst>
                      <a:gd name="T0" fmla="*/ 6 w 52"/>
                      <a:gd name="T1" fmla="*/ 36 h 36"/>
                      <a:gd name="T2" fmla="*/ 6 w 52"/>
                      <a:gd name="T3" fmla="*/ 36 h 36"/>
                      <a:gd name="T4" fmla="*/ 0 w 52"/>
                      <a:gd name="T5" fmla="*/ 0 h 36"/>
                      <a:gd name="T6" fmla="*/ 0 w 52"/>
                      <a:gd name="T7" fmla="*/ 0 h 36"/>
                      <a:gd name="T8" fmla="*/ 44 w 52"/>
                      <a:gd name="T9" fmla="*/ 0 h 36"/>
                      <a:gd name="T10" fmla="*/ 44 w 52"/>
                      <a:gd name="T11" fmla="*/ 0 h 36"/>
                      <a:gd name="T12" fmla="*/ 52 w 52"/>
                      <a:gd name="T13" fmla="*/ 36 h 36"/>
                      <a:gd name="T14" fmla="*/ 52 w 52"/>
                      <a:gd name="T15" fmla="*/ 36 h 36"/>
                      <a:gd name="T16" fmla="*/ 6 w 52"/>
                      <a:gd name="T17" fmla="*/ 36 h 36"/>
                      <a:gd name="T18" fmla="*/ 6 w 52"/>
                      <a:gd name="T19" fmla="*/ 36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2" h="36">
                        <a:moveTo>
                          <a:pt x="6" y="36"/>
                        </a:moveTo>
                        <a:lnTo>
                          <a:pt x="6" y="36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4" y="0"/>
                        </a:lnTo>
                        <a:lnTo>
                          <a:pt x="44" y="0"/>
                        </a:lnTo>
                        <a:lnTo>
                          <a:pt x="52" y="36"/>
                        </a:lnTo>
                        <a:lnTo>
                          <a:pt x="52" y="36"/>
                        </a:lnTo>
                        <a:lnTo>
                          <a:pt x="6" y="36"/>
                        </a:lnTo>
                        <a:lnTo>
                          <a:pt x="6" y="3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7" name="Freeform 20"/>
                  <p:cNvSpPr>
                    <a:spLocks/>
                  </p:cNvSpPr>
                  <p:nvPr/>
                </p:nvSpPr>
                <p:spPr bwMode="auto">
                  <a:xfrm>
                    <a:off x="1779582" y="4189395"/>
                    <a:ext cx="88899" cy="66675"/>
                  </a:xfrm>
                  <a:custGeom>
                    <a:avLst/>
                    <a:gdLst>
                      <a:gd name="T0" fmla="*/ 52 w 56"/>
                      <a:gd name="T1" fmla="*/ 42 h 42"/>
                      <a:gd name="T2" fmla="*/ 52 w 56"/>
                      <a:gd name="T3" fmla="*/ 42 h 42"/>
                      <a:gd name="T4" fmla="*/ 56 w 56"/>
                      <a:gd name="T5" fmla="*/ 0 h 42"/>
                      <a:gd name="T6" fmla="*/ 56 w 56"/>
                      <a:gd name="T7" fmla="*/ 0 h 42"/>
                      <a:gd name="T8" fmla="*/ 10 w 56"/>
                      <a:gd name="T9" fmla="*/ 0 h 42"/>
                      <a:gd name="T10" fmla="*/ 10 w 56"/>
                      <a:gd name="T11" fmla="*/ 0 h 42"/>
                      <a:gd name="T12" fmla="*/ 0 w 56"/>
                      <a:gd name="T13" fmla="*/ 42 h 42"/>
                      <a:gd name="T14" fmla="*/ 0 w 56"/>
                      <a:gd name="T15" fmla="*/ 42 h 42"/>
                      <a:gd name="T16" fmla="*/ 52 w 56"/>
                      <a:gd name="T17" fmla="*/ 42 h 42"/>
                      <a:gd name="T18" fmla="*/ 52 w 56"/>
                      <a:gd name="T19" fmla="*/ 4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6" h="42">
                        <a:moveTo>
                          <a:pt x="52" y="42"/>
                        </a:moveTo>
                        <a:lnTo>
                          <a:pt x="52" y="42"/>
                        </a:lnTo>
                        <a:lnTo>
                          <a:pt x="56" y="0"/>
                        </a:lnTo>
                        <a:lnTo>
                          <a:pt x="56" y="0"/>
                        </a:ln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0" y="42"/>
                        </a:lnTo>
                        <a:lnTo>
                          <a:pt x="0" y="42"/>
                        </a:lnTo>
                        <a:lnTo>
                          <a:pt x="52" y="42"/>
                        </a:lnTo>
                        <a:lnTo>
                          <a:pt x="52" y="4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8" name="Freeform 21"/>
                  <p:cNvSpPr>
                    <a:spLocks/>
                  </p:cNvSpPr>
                  <p:nvPr/>
                </p:nvSpPr>
                <p:spPr bwMode="auto">
                  <a:xfrm>
                    <a:off x="2363781" y="4189395"/>
                    <a:ext cx="88899" cy="66675"/>
                  </a:xfrm>
                  <a:custGeom>
                    <a:avLst/>
                    <a:gdLst>
                      <a:gd name="T0" fmla="*/ 6 w 56"/>
                      <a:gd name="T1" fmla="*/ 42 h 42"/>
                      <a:gd name="T2" fmla="*/ 6 w 56"/>
                      <a:gd name="T3" fmla="*/ 42 h 42"/>
                      <a:gd name="T4" fmla="*/ 0 w 56"/>
                      <a:gd name="T5" fmla="*/ 0 h 42"/>
                      <a:gd name="T6" fmla="*/ 0 w 56"/>
                      <a:gd name="T7" fmla="*/ 0 h 42"/>
                      <a:gd name="T8" fmla="*/ 46 w 56"/>
                      <a:gd name="T9" fmla="*/ 0 h 42"/>
                      <a:gd name="T10" fmla="*/ 46 w 56"/>
                      <a:gd name="T11" fmla="*/ 0 h 42"/>
                      <a:gd name="T12" fmla="*/ 56 w 56"/>
                      <a:gd name="T13" fmla="*/ 42 h 42"/>
                      <a:gd name="T14" fmla="*/ 56 w 56"/>
                      <a:gd name="T15" fmla="*/ 42 h 42"/>
                      <a:gd name="T16" fmla="*/ 6 w 56"/>
                      <a:gd name="T17" fmla="*/ 42 h 42"/>
                      <a:gd name="T18" fmla="*/ 6 w 56"/>
                      <a:gd name="T19" fmla="*/ 4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6" h="42">
                        <a:moveTo>
                          <a:pt x="6" y="42"/>
                        </a:moveTo>
                        <a:lnTo>
                          <a:pt x="6" y="4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lnTo>
                          <a:pt x="56" y="42"/>
                        </a:lnTo>
                        <a:lnTo>
                          <a:pt x="56" y="42"/>
                        </a:lnTo>
                        <a:lnTo>
                          <a:pt x="6" y="42"/>
                        </a:lnTo>
                        <a:lnTo>
                          <a:pt x="6" y="4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39" name="Freeform 22"/>
                  <p:cNvSpPr>
                    <a:spLocks/>
                  </p:cNvSpPr>
                  <p:nvPr/>
                </p:nvSpPr>
                <p:spPr bwMode="auto">
                  <a:xfrm>
                    <a:off x="1874834" y="4189395"/>
                    <a:ext cx="79376" cy="66675"/>
                  </a:xfrm>
                  <a:custGeom>
                    <a:avLst/>
                    <a:gdLst>
                      <a:gd name="T0" fmla="*/ 4 w 50"/>
                      <a:gd name="T1" fmla="*/ 0 h 42"/>
                      <a:gd name="T2" fmla="*/ 4 w 50"/>
                      <a:gd name="T3" fmla="*/ 0 h 42"/>
                      <a:gd name="T4" fmla="*/ 0 w 50"/>
                      <a:gd name="T5" fmla="*/ 42 h 42"/>
                      <a:gd name="T6" fmla="*/ 0 w 50"/>
                      <a:gd name="T7" fmla="*/ 42 h 42"/>
                      <a:gd name="T8" fmla="*/ 50 w 50"/>
                      <a:gd name="T9" fmla="*/ 42 h 42"/>
                      <a:gd name="T10" fmla="*/ 50 w 50"/>
                      <a:gd name="T11" fmla="*/ 42 h 42"/>
                      <a:gd name="T12" fmla="*/ 50 w 50"/>
                      <a:gd name="T13" fmla="*/ 0 h 42"/>
                      <a:gd name="T14" fmla="*/ 50 w 50"/>
                      <a:gd name="T15" fmla="*/ 0 h 42"/>
                      <a:gd name="T16" fmla="*/ 4 w 50"/>
                      <a:gd name="T17" fmla="*/ 0 h 42"/>
                      <a:gd name="T18" fmla="*/ 4 w 50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0" h="42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0" y="42"/>
                        </a:lnTo>
                        <a:lnTo>
                          <a:pt x="0" y="42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50" y="0"/>
                        </a:lnTo>
                        <a:lnTo>
                          <a:pt x="50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0" name="Freeform 23"/>
                  <p:cNvSpPr>
                    <a:spLocks/>
                  </p:cNvSpPr>
                  <p:nvPr/>
                </p:nvSpPr>
                <p:spPr bwMode="auto">
                  <a:xfrm>
                    <a:off x="2278056" y="4189395"/>
                    <a:ext cx="82550" cy="66675"/>
                  </a:xfrm>
                  <a:custGeom>
                    <a:avLst/>
                    <a:gdLst>
                      <a:gd name="T0" fmla="*/ 46 w 52"/>
                      <a:gd name="T1" fmla="*/ 0 h 42"/>
                      <a:gd name="T2" fmla="*/ 46 w 52"/>
                      <a:gd name="T3" fmla="*/ 0 h 42"/>
                      <a:gd name="T4" fmla="*/ 52 w 52"/>
                      <a:gd name="T5" fmla="*/ 42 h 42"/>
                      <a:gd name="T6" fmla="*/ 52 w 52"/>
                      <a:gd name="T7" fmla="*/ 42 h 42"/>
                      <a:gd name="T8" fmla="*/ 2 w 52"/>
                      <a:gd name="T9" fmla="*/ 42 h 42"/>
                      <a:gd name="T10" fmla="*/ 2 w 52"/>
                      <a:gd name="T11" fmla="*/ 42 h 42"/>
                      <a:gd name="T12" fmla="*/ 0 w 52"/>
                      <a:gd name="T13" fmla="*/ 0 h 42"/>
                      <a:gd name="T14" fmla="*/ 0 w 52"/>
                      <a:gd name="T15" fmla="*/ 0 h 42"/>
                      <a:gd name="T16" fmla="*/ 46 w 52"/>
                      <a:gd name="T17" fmla="*/ 0 h 42"/>
                      <a:gd name="T18" fmla="*/ 46 w 52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2" h="42">
                        <a:moveTo>
                          <a:pt x="46" y="0"/>
                        </a:moveTo>
                        <a:lnTo>
                          <a:pt x="46" y="0"/>
                        </a:lnTo>
                        <a:lnTo>
                          <a:pt x="52" y="42"/>
                        </a:lnTo>
                        <a:lnTo>
                          <a:pt x="52" y="42"/>
                        </a:lnTo>
                        <a:lnTo>
                          <a:pt x="2" y="42"/>
                        </a:lnTo>
                        <a:lnTo>
                          <a:pt x="2" y="4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1" name="Freeform 24"/>
                  <p:cNvSpPr>
                    <a:spLocks/>
                  </p:cNvSpPr>
                  <p:nvPr/>
                </p:nvSpPr>
                <p:spPr bwMode="auto">
                  <a:xfrm>
                    <a:off x="1884357" y="4122720"/>
                    <a:ext cx="73024" cy="57149"/>
                  </a:xfrm>
                  <a:custGeom>
                    <a:avLst/>
                    <a:gdLst>
                      <a:gd name="T0" fmla="*/ 4 w 46"/>
                      <a:gd name="T1" fmla="*/ 0 h 36"/>
                      <a:gd name="T2" fmla="*/ 4 w 46"/>
                      <a:gd name="T3" fmla="*/ 0 h 36"/>
                      <a:gd name="T4" fmla="*/ 0 w 46"/>
                      <a:gd name="T5" fmla="*/ 36 h 36"/>
                      <a:gd name="T6" fmla="*/ 0 w 46"/>
                      <a:gd name="T7" fmla="*/ 36 h 36"/>
                      <a:gd name="T8" fmla="*/ 46 w 46"/>
                      <a:gd name="T9" fmla="*/ 36 h 36"/>
                      <a:gd name="T10" fmla="*/ 46 w 46"/>
                      <a:gd name="T11" fmla="*/ 36 h 36"/>
                      <a:gd name="T12" fmla="*/ 46 w 46"/>
                      <a:gd name="T13" fmla="*/ 0 h 36"/>
                      <a:gd name="T14" fmla="*/ 46 w 46"/>
                      <a:gd name="T15" fmla="*/ 0 h 36"/>
                      <a:gd name="T16" fmla="*/ 4 w 46"/>
                      <a:gd name="T17" fmla="*/ 0 h 36"/>
                      <a:gd name="T18" fmla="*/ 4 w 46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36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46" y="36"/>
                        </a:lnTo>
                        <a:lnTo>
                          <a:pt x="46" y="36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2" name="Freeform 25"/>
                  <p:cNvSpPr>
                    <a:spLocks/>
                  </p:cNvSpPr>
                  <p:nvPr/>
                </p:nvSpPr>
                <p:spPr bwMode="auto">
                  <a:xfrm>
                    <a:off x="2274882" y="4122720"/>
                    <a:ext cx="76199" cy="57149"/>
                  </a:xfrm>
                  <a:custGeom>
                    <a:avLst/>
                    <a:gdLst>
                      <a:gd name="T0" fmla="*/ 44 w 48"/>
                      <a:gd name="T1" fmla="*/ 0 h 36"/>
                      <a:gd name="T2" fmla="*/ 44 w 48"/>
                      <a:gd name="T3" fmla="*/ 0 h 36"/>
                      <a:gd name="T4" fmla="*/ 48 w 48"/>
                      <a:gd name="T5" fmla="*/ 36 h 36"/>
                      <a:gd name="T6" fmla="*/ 48 w 48"/>
                      <a:gd name="T7" fmla="*/ 36 h 36"/>
                      <a:gd name="T8" fmla="*/ 2 w 48"/>
                      <a:gd name="T9" fmla="*/ 36 h 36"/>
                      <a:gd name="T10" fmla="*/ 2 w 48"/>
                      <a:gd name="T11" fmla="*/ 36 h 36"/>
                      <a:gd name="T12" fmla="*/ 0 w 48"/>
                      <a:gd name="T13" fmla="*/ 0 h 36"/>
                      <a:gd name="T14" fmla="*/ 0 w 48"/>
                      <a:gd name="T15" fmla="*/ 0 h 36"/>
                      <a:gd name="T16" fmla="*/ 44 w 48"/>
                      <a:gd name="T17" fmla="*/ 0 h 36"/>
                      <a:gd name="T18" fmla="*/ 44 w 48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8" h="36">
                        <a:moveTo>
                          <a:pt x="44" y="0"/>
                        </a:moveTo>
                        <a:lnTo>
                          <a:pt x="44" y="0"/>
                        </a:lnTo>
                        <a:lnTo>
                          <a:pt x="48" y="36"/>
                        </a:lnTo>
                        <a:lnTo>
                          <a:pt x="48" y="36"/>
                        </a:lnTo>
                        <a:lnTo>
                          <a:pt x="2" y="36"/>
                        </a:lnTo>
                        <a:lnTo>
                          <a:pt x="2" y="36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4" y="0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3" name="Freeform 26"/>
                  <p:cNvSpPr>
                    <a:spLocks/>
                  </p:cNvSpPr>
                  <p:nvPr/>
                </p:nvSpPr>
                <p:spPr bwMode="auto">
                  <a:xfrm>
                    <a:off x="1890706" y="4065571"/>
                    <a:ext cx="69850" cy="47625"/>
                  </a:xfrm>
                  <a:custGeom>
                    <a:avLst/>
                    <a:gdLst>
                      <a:gd name="T0" fmla="*/ 4 w 44"/>
                      <a:gd name="T1" fmla="*/ 0 h 30"/>
                      <a:gd name="T2" fmla="*/ 4 w 44"/>
                      <a:gd name="T3" fmla="*/ 0 h 30"/>
                      <a:gd name="T4" fmla="*/ 0 w 44"/>
                      <a:gd name="T5" fmla="*/ 30 h 30"/>
                      <a:gd name="T6" fmla="*/ 0 w 44"/>
                      <a:gd name="T7" fmla="*/ 30 h 30"/>
                      <a:gd name="T8" fmla="*/ 42 w 44"/>
                      <a:gd name="T9" fmla="*/ 30 h 30"/>
                      <a:gd name="T10" fmla="*/ 42 w 44"/>
                      <a:gd name="T11" fmla="*/ 30 h 30"/>
                      <a:gd name="T12" fmla="*/ 44 w 44"/>
                      <a:gd name="T13" fmla="*/ 0 h 30"/>
                      <a:gd name="T14" fmla="*/ 44 w 44"/>
                      <a:gd name="T15" fmla="*/ 0 h 30"/>
                      <a:gd name="T16" fmla="*/ 4 w 44"/>
                      <a:gd name="T17" fmla="*/ 0 h 30"/>
                      <a:gd name="T18" fmla="*/ 4 w 44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4" h="30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lnTo>
                          <a:pt x="44" y="0"/>
                        </a:lnTo>
                        <a:lnTo>
                          <a:pt x="4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4" name="Freeform 27"/>
                  <p:cNvSpPr>
                    <a:spLocks/>
                  </p:cNvSpPr>
                  <p:nvPr/>
                </p:nvSpPr>
                <p:spPr bwMode="auto">
                  <a:xfrm>
                    <a:off x="2274882" y="4065571"/>
                    <a:ext cx="66675" cy="47625"/>
                  </a:xfrm>
                  <a:custGeom>
                    <a:avLst/>
                    <a:gdLst>
                      <a:gd name="T0" fmla="*/ 40 w 42"/>
                      <a:gd name="T1" fmla="*/ 0 h 30"/>
                      <a:gd name="T2" fmla="*/ 40 w 42"/>
                      <a:gd name="T3" fmla="*/ 0 h 30"/>
                      <a:gd name="T4" fmla="*/ 42 w 42"/>
                      <a:gd name="T5" fmla="*/ 30 h 30"/>
                      <a:gd name="T6" fmla="*/ 42 w 42"/>
                      <a:gd name="T7" fmla="*/ 30 h 30"/>
                      <a:gd name="T8" fmla="*/ 0 w 42"/>
                      <a:gd name="T9" fmla="*/ 30 h 30"/>
                      <a:gd name="T10" fmla="*/ 0 w 42"/>
                      <a:gd name="T11" fmla="*/ 30 h 30"/>
                      <a:gd name="T12" fmla="*/ 0 w 42"/>
                      <a:gd name="T13" fmla="*/ 0 h 30"/>
                      <a:gd name="T14" fmla="*/ 0 w 42"/>
                      <a:gd name="T15" fmla="*/ 0 h 30"/>
                      <a:gd name="T16" fmla="*/ 40 w 42"/>
                      <a:gd name="T17" fmla="*/ 0 h 30"/>
                      <a:gd name="T18" fmla="*/ 40 w 42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2" h="30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0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5" name="Freeform 28"/>
                  <p:cNvSpPr>
                    <a:spLocks/>
                  </p:cNvSpPr>
                  <p:nvPr/>
                </p:nvSpPr>
                <p:spPr bwMode="auto">
                  <a:xfrm>
                    <a:off x="1966907" y="4189395"/>
                    <a:ext cx="79376" cy="66675"/>
                  </a:xfrm>
                  <a:custGeom>
                    <a:avLst/>
                    <a:gdLst>
                      <a:gd name="T0" fmla="*/ 46 w 50"/>
                      <a:gd name="T1" fmla="*/ 0 h 42"/>
                      <a:gd name="T2" fmla="*/ 46 w 50"/>
                      <a:gd name="T3" fmla="*/ 0 h 42"/>
                      <a:gd name="T4" fmla="*/ 0 w 50"/>
                      <a:gd name="T5" fmla="*/ 0 h 42"/>
                      <a:gd name="T6" fmla="*/ 0 w 50"/>
                      <a:gd name="T7" fmla="*/ 0 h 42"/>
                      <a:gd name="T8" fmla="*/ 0 w 50"/>
                      <a:gd name="T9" fmla="*/ 42 h 42"/>
                      <a:gd name="T10" fmla="*/ 0 w 50"/>
                      <a:gd name="T11" fmla="*/ 42 h 42"/>
                      <a:gd name="T12" fmla="*/ 50 w 50"/>
                      <a:gd name="T13" fmla="*/ 42 h 42"/>
                      <a:gd name="T14" fmla="*/ 50 w 50"/>
                      <a:gd name="T15" fmla="*/ 42 h 42"/>
                      <a:gd name="T16" fmla="*/ 46 w 50"/>
                      <a:gd name="T17" fmla="*/ 0 h 42"/>
                      <a:gd name="T18" fmla="*/ 46 w 50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0" h="42">
                        <a:moveTo>
                          <a:pt x="46" y="0"/>
                        </a:moveTo>
                        <a:lnTo>
                          <a:pt x="46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42"/>
                        </a:lnTo>
                        <a:lnTo>
                          <a:pt x="0" y="42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6" name="Freeform 29"/>
                  <p:cNvSpPr>
                    <a:spLocks/>
                  </p:cNvSpPr>
                  <p:nvPr/>
                </p:nvSpPr>
                <p:spPr bwMode="auto">
                  <a:xfrm>
                    <a:off x="2189157" y="4189395"/>
                    <a:ext cx="79376" cy="66675"/>
                  </a:xfrm>
                  <a:custGeom>
                    <a:avLst/>
                    <a:gdLst>
                      <a:gd name="T0" fmla="*/ 2 w 50"/>
                      <a:gd name="T1" fmla="*/ 0 h 42"/>
                      <a:gd name="T2" fmla="*/ 2 w 50"/>
                      <a:gd name="T3" fmla="*/ 0 h 42"/>
                      <a:gd name="T4" fmla="*/ 48 w 50"/>
                      <a:gd name="T5" fmla="*/ 0 h 42"/>
                      <a:gd name="T6" fmla="*/ 48 w 50"/>
                      <a:gd name="T7" fmla="*/ 0 h 42"/>
                      <a:gd name="T8" fmla="*/ 50 w 50"/>
                      <a:gd name="T9" fmla="*/ 42 h 42"/>
                      <a:gd name="T10" fmla="*/ 50 w 50"/>
                      <a:gd name="T11" fmla="*/ 42 h 42"/>
                      <a:gd name="T12" fmla="*/ 0 w 50"/>
                      <a:gd name="T13" fmla="*/ 42 h 42"/>
                      <a:gd name="T14" fmla="*/ 0 w 50"/>
                      <a:gd name="T15" fmla="*/ 42 h 42"/>
                      <a:gd name="T16" fmla="*/ 2 w 50"/>
                      <a:gd name="T17" fmla="*/ 0 h 42"/>
                      <a:gd name="T18" fmla="*/ 2 w 50"/>
                      <a:gd name="T19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0" h="42">
                        <a:moveTo>
                          <a:pt x="2" y="0"/>
                        </a:moveTo>
                        <a:lnTo>
                          <a:pt x="2" y="0"/>
                        </a:lnTo>
                        <a:lnTo>
                          <a:pt x="48" y="0"/>
                        </a:lnTo>
                        <a:lnTo>
                          <a:pt x="48" y="0"/>
                        </a:lnTo>
                        <a:lnTo>
                          <a:pt x="50" y="42"/>
                        </a:lnTo>
                        <a:lnTo>
                          <a:pt x="50" y="42"/>
                        </a:lnTo>
                        <a:lnTo>
                          <a:pt x="0" y="42"/>
                        </a:lnTo>
                        <a:lnTo>
                          <a:pt x="0" y="42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7" name="Freeform 30"/>
                  <p:cNvSpPr>
                    <a:spLocks/>
                  </p:cNvSpPr>
                  <p:nvPr/>
                </p:nvSpPr>
                <p:spPr bwMode="auto">
                  <a:xfrm>
                    <a:off x="1966907" y="4122720"/>
                    <a:ext cx="73024" cy="57149"/>
                  </a:xfrm>
                  <a:custGeom>
                    <a:avLst/>
                    <a:gdLst>
                      <a:gd name="T0" fmla="*/ 44 w 46"/>
                      <a:gd name="T1" fmla="*/ 0 h 36"/>
                      <a:gd name="T2" fmla="*/ 44 w 46"/>
                      <a:gd name="T3" fmla="*/ 0 h 36"/>
                      <a:gd name="T4" fmla="*/ 2 w 46"/>
                      <a:gd name="T5" fmla="*/ 0 h 36"/>
                      <a:gd name="T6" fmla="*/ 2 w 46"/>
                      <a:gd name="T7" fmla="*/ 0 h 36"/>
                      <a:gd name="T8" fmla="*/ 0 w 46"/>
                      <a:gd name="T9" fmla="*/ 36 h 36"/>
                      <a:gd name="T10" fmla="*/ 0 w 46"/>
                      <a:gd name="T11" fmla="*/ 36 h 36"/>
                      <a:gd name="T12" fmla="*/ 46 w 46"/>
                      <a:gd name="T13" fmla="*/ 36 h 36"/>
                      <a:gd name="T14" fmla="*/ 46 w 46"/>
                      <a:gd name="T15" fmla="*/ 36 h 36"/>
                      <a:gd name="T16" fmla="*/ 44 w 46"/>
                      <a:gd name="T17" fmla="*/ 0 h 36"/>
                      <a:gd name="T18" fmla="*/ 44 w 46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36">
                        <a:moveTo>
                          <a:pt x="44" y="0"/>
                        </a:moveTo>
                        <a:lnTo>
                          <a:pt x="44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46" y="36"/>
                        </a:lnTo>
                        <a:lnTo>
                          <a:pt x="46" y="36"/>
                        </a:lnTo>
                        <a:lnTo>
                          <a:pt x="44" y="0"/>
                        </a:lnTo>
                        <a:lnTo>
                          <a:pt x="4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8" name="Freeform 31"/>
                  <p:cNvSpPr>
                    <a:spLocks/>
                  </p:cNvSpPr>
                  <p:nvPr/>
                </p:nvSpPr>
                <p:spPr bwMode="auto">
                  <a:xfrm>
                    <a:off x="2192332" y="4122720"/>
                    <a:ext cx="73024" cy="57149"/>
                  </a:xfrm>
                  <a:custGeom>
                    <a:avLst/>
                    <a:gdLst>
                      <a:gd name="T0" fmla="*/ 4 w 46"/>
                      <a:gd name="T1" fmla="*/ 0 h 36"/>
                      <a:gd name="T2" fmla="*/ 4 w 46"/>
                      <a:gd name="T3" fmla="*/ 0 h 36"/>
                      <a:gd name="T4" fmla="*/ 46 w 46"/>
                      <a:gd name="T5" fmla="*/ 0 h 36"/>
                      <a:gd name="T6" fmla="*/ 46 w 46"/>
                      <a:gd name="T7" fmla="*/ 0 h 36"/>
                      <a:gd name="T8" fmla="*/ 46 w 46"/>
                      <a:gd name="T9" fmla="*/ 36 h 36"/>
                      <a:gd name="T10" fmla="*/ 46 w 46"/>
                      <a:gd name="T11" fmla="*/ 36 h 36"/>
                      <a:gd name="T12" fmla="*/ 0 w 46"/>
                      <a:gd name="T13" fmla="*/ 36 h 36"/>
                      <a:gd name="T14" fmla="*/ 0 w 46"/>
                      <a:gd name="T15" fmla="*/ 36 h 36"/>
                      <a:gd name="T16" fmla="*/ 4 w 46"/>
                      <a:gd name="T17" fmla="*/ 0 h 36"/>
                      <a:gd name="T18" fmla="*/ 4 w 46"/>
                      <a:gd name="T19" fmla="*/ 0 h 3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6" h="36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46" y="0"/>
                        </a:lnTo>
                        <a:lnTo>
                          <a:pt x="46" y="0"/>
                        </a:lnTo>
                        <a:lnTo>
                          <a:pt x="46" y="36"/>
                        </a:lnTo>
                        <a:lnTo>
                          <a:pt x="46" y="36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49" name="Freeform 32"/>
                  <p:cNvSpPr>
                    <a:spLocks/>
                  </p:cNvSpPr>
                  <p:nvPr/>
                </p:nvSpPr>
                <p:spPr bwMode="auto">
                  <a:xfrm>
                    <a:off x="1970082" y="4065571"/>
                    <a:ext cx="66675" cy="47625"/>
                  </a:xfrm>
                  <a:custGeom>
                    <a:avLst/>
                    <a:gdLst>
                      <a:gd name="T0" fmla="*/ 40 w 42"/>
                      <a:gd name="T1" fmla="*/ 0 h 30"/>
                      <a:gd name="T2" fmla="*/ 40 w 42"/>
                      <a:gd name="T3" fmla="*/ 0 h 30"/>
                      <a:gd name="T4" fmla="*/ 0 w 42"/>
                      <a:gd name="T5" fmla="*/ 0 h 30"/>
                      <a:gd name="T6" fmla="*/ 0 w 42"/>
                      <a:gd name="T7" fmla="*/ 0 h 30"/>
                      <a:gd name="T8" fmla="*/ 0 w 42"/>
                      <a:gd name="T9" fmla="*/ 30 h 30"/>
                      <a:gd name="T10" fmla="*/ 0 w 42"/>
                      <a:gd name="T11" fmla="*/ 30 h 30"/>
                      <a:gd name="T12" fmla="*/ 42 w 42"/>
                      <a:gd name="T13" fmla="*/ 30 h 30"/>
                      <a:gd name="T14" fmla="*/ 42 w 42"/>
                      <a:gd name="T15" fmla="*/ 30 h 30"/>
                      <a:gd name="T16" fmla="*/ 40 w 42"/>
                      <a:gd name="T17" fmla="*/ 0 h 30"/>
                      <a:gd name="T18" fmla="*/ 40 w 42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2" h="30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lnTo>
                          <a:pt x="40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0" name="Freeform 33"/>
                  <p:cNvSpPr>
                    <a:spLocks/>
                  </p:cNvSpPr>
                  <p:nvPr/>
                </p:nvSpPr>
                <p:spPr bwMode="auto">
                  <a:xfrm>
                    <a:off x="2198680" y="4065571"/>
                    <a:ext cx="66675" cy="47625"/>
                  </a:xfrm>
                  <a:custGeom>
                    <a:avLst/>
                    <a:gdLst>
                      <a:gd name="T0" fmla="*/ 2 w 42"/>
                      <a:gd name="T1" fmla="*/ 0 h 30"/>
                      <a:gd name="T2" fmla="*/ 2 w 42"/>
                      <a:gd name="T3" fmla="*/ 0 h 30"/>
                      <a:gd name="T4" fmla="*/ 42 w 42"/>
                      <a:gd name="T5" fmla="*/ 0 h 30"/>
                      <a:gd name="T6" fmla="*/ 42 w 42"/>
                      <a:gd name="T7" fmla="*/ 0 h 30"/>
                      <a:gd name="T8" fmla="*/ 42 w 42"/>
                      <a:gd name="T9" fmla="*/ 30 h 30"/>
                      <a:gd name="T10" fmla="*/ 42 w 42"/>
                      <a:gd name="T11" fmla="*/ 30 h 30"/>
                      <a:gd name="T12" fmla="*/ 0 w 42"/>
                      <a:gd name="T13" fmla="*/ 30 h 30"/>
                      <a:gd name="T14" fmla="*/ 0 w 42"/>
                      <a:gd name="T15" fmla="*/ 30 h 30"/>
                      <a:gd name="T16" fmla="*/ 2 w 42"/>
                      <a:gd name="T17" fmla="*/ 0 h 30"/>
                      <a:gd name="T18" fmla="*/ 2 w 42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2" h="30">
                        <a:moveTo>
                          <a:pt x="2" y="0"/>
                        </a:moveTo>
                        <a:lnTo>
                          <a:pt x="2" y="0"/>
                        </a:lnTo>
                        <a:lnTo>
                          <a:pt x="42" y="0"/>
                        </a:lnTo>
                        <a:lnTo>
                          <a:pt x="42" y="0"/>
                        </a:lnTo>
                        <a:lnTo>
                          <a:pt x="42" y="30"/>
                        </a:lnTo>
                        <a:lnTo>
                          <a:pt x="42" y="30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1" name="Freeform 34"/>
                  <p:cNvSpPr>
                    <a:spLocks noEditPoints="1"/>
                  </p:cNvSpPr>
                  <p:nvPr/>
                </p:nvSpPr>
                <p:spPr bwMode="auto">
                  <a:xfrm>
                    <a:off x="1624008" y="4036995"/>
                    <a:ext cx="473072" cy="269875"/>
                  </a:xfrm>
                  <a:custGeom>
                    <a:avLst/>
                    <a:gdLst>
                      <a:gd name="T0" fmla="*/ 64 w 298"/>
                      <a:gd name="T1" fmla="*/ 0 h 170"/>
                      <a:gd name="T2" fmla="*/ 64 w 298"/>
                      <a:gd name="T3" fmla="*/ 0 h 170"/>
                      <a:gd name="T4" fmla="*/ 172 w 298"/>
                      <a:gd name="T5" fmla="*/ 0 h 170"/>
                      <a:gd name="T6" fmla="*/ 172 w 298"/>
                      <a:gd name="T7" fmla="*/ 0 h 170"/>
                      <a:gd name="T8" fmla="*/ 278 w 298"/>
                      <a:gd name="T9" fmla="*/ 0 h 170"/>
                      <a:gd name="T10" fmla="*/ 278 w 298"/>
                      <a:gd name="T11" fmla="*/ 0 h 170"/>
                      <a:gd name="T12" fmla="*/ 286 w 298"/>
                      <a:gd name="T13" fmla="*/ 70 h 170"/>
                      <a:gd name="T14" fmla="*/ 286 w 298"/>
                      <a:gd name="T15" fmla="*/ 70 h 170"/>
                      <a:gd name="T16" fmla="*/ 298 w 298"/>
                      <a:gd name="T17" fmla="*/ 170 h 170"/>
                      <a:gd name="T18" fmla="*/ 298 w 298"/>
                      <a:gd name="T19" fmla="*/ 170 h 170"/>
                      <a:gd name="T20" fmla="*/ 148 w 298"/>
                      <a:gd name="T21" fmla="*/ 170 h 170"/>
                      <a:gd name="T22" fmla="*/ 148 w 298"/>
                      <a:gd name="T23" fmla="*/ 170 h 170"/>
                      <a:gd name="T24" fmla="*/ 0 w 298"/>
                      <a:gd name="T25" fmla="*/ 170 h 170"/>
                      <a:gd name="T26" fmla="*/ 0 w 298"/>
                      <a:gd name="T27" fmla="*/ 170 h 170"/>
                      <a:gd name="T28" fmla="*/ 38 w 298"/>
                      <a:gd name="T29" fmla="*/ 70 h 170"/>
                      <a:gd name="T30" fmla="*/ 38 w 298"/>
                      <a:gd name="T31" fmla="*/ 70 h 170"/>
                      <a:gd name="T32" fmla="*/ 64 w 298"/>
                      <a:gd name="T33" fmla="*/ 0 h 170"/>
                      <a:gd name="T34" fmla="*/ 64 w 298"/>
                      <a:gd name="T35" fmla="*/ 0 h 170"/>
                      <a:gd name="T36" fmla="*/ 76 w 298"/>
                      <a:gd name="T37" fmla="*/ 12 h 170"/>
                      <a:gd name="T38" fmla="*/ 76 w 298"/>
                      <a:gd name="T39" fmla="*/ 12 h 170"/>
                      <a:gd name="T40" fmla="*/ 170 w 298"/>
                      <a:gd name="T41" fmla="*/ 12 h 170"/>
                      <a:gd name="T42" fmla="*/ 170 w 298"/>
                      <a:gd name="T43" fmla="*/ 12 h 170"/>
                      <a:gd name="T44" fmla="*/ 264 w 298"/>
                      <a:gd name="T45" fmla="*/ 12 h 170"/>
                      <a:gd name="T46" fmla="*/ 264 w 298"/>
                      <a:gd name="T47" fmla="*/ 12 h 170"/>
                      <a:gd name="T48" fmla="*/ 268 w 298"/>
                      <a:gd name="T49" fmla="*/ 70 h 170"/>
                      <a:gd name="T50" fmla="*/ 268 w 298"/>
                      <a:gd name="T51" fmla="*/ 70 h 170"/>
                      <a:gd name="T52" fmla="*/ 274 w 298"/>
                      <a:gd name="T53" fmla="*/ 148 h 170"/>
                      <a:gd name="T54" fmla="*/ 274 w 298"/>
                      <a:gd name="T55" fmla="*/ 148 h 170"/>
                      <a:gd name="T56" fmla="*/ 152 w 298"/>
                      <a:gd name="T57" fmla="*/ 148 h 170"/>
                      <a:gd name="T58" fmla="*/ 152 w 298"/>
                      <a:gd name="T59" fmla="*/ 148 h 170"/>
                      <a:gd name="T60" fmla="*/ 30 w 298"/>
                      <a:gd name="T61" fmla="*/ 148 h 170"/>
                      <a:gd name="T62" fmla="*/ 30 w 298"/>
                      <a:gd name="T63" fmla="*/ 148 h 170"/>
                      <a:gd name="T64" fmla="*/ 56 w 298"/>
                      <a:gd name="T65" fmla="*/ 70 h 170"/>
                      <a:gd name="T66" fmla="*/ 56 w 298"/>
                      <a:gd name="T67" fmla="*/ 70 h 170"/>
                      <a:gd name="T68" fmla="*/ 76 w 298"/>
                      <a:gd name="T69" fmla="*/ 12 h 170"/>
                      <a:gd name="T70" fmla="*/ 76 w 298"/>
                      <a:gd name="T71" fmla="*/ 12 h 1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298" h="170">
                        <a:moveTo>
                          <a:pt x="64" y="0"/>
                        </a:moveTo>
                        <a:lnTo>
                          <a:pt x="64" y="0"/>
                        </a:lnTo>
                        <a:lnTo>
                          <a:pt x="172" y="0"/>
                        </a:lnTo>
                        <a:lnTo>
                          <a:pt x="172" y="0"/>
                        </a:lnTo>
                        <a:lnTo>
                          <a:pt x="278" y="0"/>
                        </a:lnTo>
                        <a:lnTo>
                          <a:pt x="278" y="0"/>
                        </a:lnTo>
                        <a:lnTo>
                          <a:pt x="286" y="70"/>
                        </a:lnTo>
                        <a:lnTo>
                          <a:pt x="286" y="70"/>
                        </a:lnTo>
                        <a:lnTo>
                          <a:pt x="298" y="170"/>
                        </a:lnTo>
                        <a:lnTo>
                          <a:pt x="298" y="170"/>
                        </a:lnTo>
                        <a:lnTo>
                          <a:pt x="148" y="170"/>
                        </a:lnTo>
                        <a:lnTo>
                          <a:pt x="148" y="170"/>
                        </a:lnTo>
                        <a:lnTo>
                          <a:pt x="0" y="170"/>
                        </a:lnTo>
                        <a:lnTo>
                          <a:pt x="0" y="170"/>
                        </a:lnTo>
                        <a:lnTo>
                          <a:pt x="38" y="70"/>
                        </a:lnTo>
                        <a:lnTo>
                          <a:pt x="38" y="70"/>
                        </a:lnTo>
                        <a:lnTo>
                          <a:pt x="64" y="0"/>
                        </a:lnTo>
                        <a:lnTo>
                          <a:pt x="64" y="0"/>
                        </a:lnTo>
                        <a:close/>
                        <a:moveTo>
                          <a:pt x="76" y="12"/>
                        </a:moveTo>
                        <a:lnTo>
                          <a:pt x="76" y="12"/>
                        </a:lnTo>
                        <a:lnTo>
                          <a:pt x="170" y="12"/>
                        </a:lnTo>
                        <a:lnTo>
                          <a:pt x="170" y="12"/>
                        </a:lnTo>
                        <a:lnTo>
                          <a:pt x="264" y="12"/>
                        </a:lnTo>
                        <a:lnTo>
                          <a:pt x="264" y="12"/>
                        </a:lnTo>
                        <a:lnTo>
                          <a:pt x="268" y="70"/>
                        </a:lnTo>
                        <a:lnTo>
                          <a:pt x="268" y="70"/>
                        </a:lnTo>
                        <a:lnTo>
                          <a:pt x="274" y="148"/>
                        </a:lnTo>
                        <a:lnTo>
                          <a:pt x="274" y="148"/>
                        </a:lnTo>
                        <a:lnTo>
                          <a:pt x="152" y="148"/>
                        </a:lnTo>
                        <a:lnTo>
                          <a:pt x="152" y="148"/>
                        </a:lnTo>
                        <a:lnTo>
                          <a:pt x="30" y="148"/>
                        </a:lnTo>
                        <a:lnTo>
                          <a:pt x="30" y="148"/>
                        </a:lnTo>
                        <a:lnTo>
                          <a:pt x="56" y="70"/>
                        </a:lnTo>
                        <a:lnTo>
                          <a:pt x="56" y="70"/>
                        </a:lnTo>
                        <a:lnTo>
                          <a:pt x="76" y="12"/>
                        </a:lnTo>
                        <a:lnTo>
                          <a:pt x="76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2" name="Freeform 35"/>
                  <p:cNvSpPr>
                    <a:spLocks noEditPoints="1"/>
                  </p:cNvSpPr>
                  <p:nvPr/>
                </p:nvSpPr>
                <p:spPr bwMode="auto">
                  <a:xfrm>
                    <a:off x="2138357" y="4036995"/>
                    <a:ext cx="469898" cy="269875"/>
                  </a:xfrm>
                  <a:custGeom>
                    <a:avLst/>
                    <a:gdLst>
                      <a:gd name="T0" fmla="*/ 232 w 296"/>
                      <a:gd name="T1" fmla="*/ 0 h 170"/>
                      <a:gd name="T2" fmla="*/ 232 w 296"/>
                      <a:gd name="T3" fmla="*/ 0 h 170"/>
                      <a:gd name="T4" fmla="*/ 126 w 296"/>
                      <a:gd name="T5" fmla="*/ 0 h 170"/>
                      <a:gd name="T6" fmla="*/ 126 w 296"/>
                      <a:gd name="T7" fmla="*/ 0 h 170"/>
                      <a:gd name="T8" fmla="*/ 20 w 296"/>
                      <a:gd name="T9" fmla="*/ 0 h 170"/>
                      <a:gd name="T10" fmla="*/ 20 w 296"/>
                      <a:gd name="T11" fmla="*/ 0 h 170"/>
                      <a:gd name="T12" fmla="*/ 12 w 296"/>
                      <a:gd name="T13" fmla="*/ 70 h 170"/>
                      <a:gd name="T14" fmla="*/ 12 w 296"/>
                      <a:gd name="T15" fmla="*/ 70 h 170"/>
                      <a:gd name="T16" fmla="*/ 0 w 296"/>
                      <a:gd name="T17" fmla="*/ 170 h 170"/>
                      <a:gd name="T18" fmla="*/ 0 w 296"/>
                      <a:gd name="T19" fmla="*/ 170 h 170"/>
                      <a:gd name="T20" fmla="*/ 148 w 296"/>
                      <a:gd name="T21" fmla="*/ 170 h 170"/>
                      <a:gd name="T22" fmla="*/ 148 w 296"/>
                      <a:gd name="T23" fmla="*/ 170 h 170"/>
                      <a:gd name="T24" fmla="*/ 296 w 296"/>
                      <a:gd name="T25" fmla="*/ 170 h 170"/>
                      <a:gd name="T26" fmla="*/ 296 w 296"/>
                      <a:gd name="T27" fmla="*/ 170 h 170"/>
                      <a:gd name="T28" fmla="*/ 260 w 296"/>
                      <a:gd name="T29" fmla="*/ 70 h 170"/>
                      <a:gd name="T30" fmla="*/ 260 w 296"/>
                      <a:gd name="T31" fmla="*/ 70 h 170"/>
                      <a:gd name="T32" fmla="*/ 232 w 296"/>
                      <a:gd name="T33" fmla="*/ 0 h 170"/>
                      <a:gd name="T34" fmla="*/ 232 w 296"/>
                      <a:gd name="T35" fmla="*/ 0 h 170"/>
                      <a:gd name="T36" fmla="*/ 222 w 296"/>
                      <a:gd name="T37" fmla="*/ 12 h 170"/>
                      <a:gd name="T38" fmla="*/ 222 w 296"/>
                      <a:gd name="T39" fmla="*/ 12 h 170"/>
                      <a:gd name="T40" fmla="*/ 128 w 296"/>
                      <a:gd name="T41" fmla="*/ 12 h 170"/>
                      <a:gd name="T42" fmla="*/ 128 w 296"/>
                      <a:gd name="T43" fmla="*/ 12 h 170"/>
                      <a:gd name="T44" fmla="*/ 34 w 296"/>
                      <a:gd name="T45" fmla="*/ 12 h 170"/>
                      <a:gd name="T46" fmla="*/ 34 w 296"/>
                      <a:gd name="T47" fmla="*/ 12 h 170"/>
                      <a:gd name="T48" fmla="*/ 28 w 296"/>
                      <a:gd name="T49" fmla="*/ 70 h 170"/>
                      <a:gd name="T50" fmla="*/ 28 w 296"/>
                      <a:gd name="T51" fmla="*/ 70 h 170"/>
                      <a:gd name="T52" fmla="*/ 22 w 296"/>
                      <a:gd name="T53" fmla="*/ 148 h 170"/>
                      <a:gd name="T54" fmla="*/ 22 w 296"/>
                      <a:gd name="T55" fmla="*/ 148 h 170"/>
                      <a:gd name="T56" fmla="*/ 146 w 296"/>
                      <a:gd name="T57" fmla="*/ 148 h 170"/>
                      <a:gd name="T58" fmla="*/ 146 w 296"/>
                      <a:gd name="T59" fmla="*/ 148 h 170"/>
                      <a:gd name="T60" fmla="*/ 268 w 296"/>
                      <a:gd name="T61" fmla="*/ 148 h 170"/>
                      <a:gd name="T62" fmla="*/ 268 w 296"/>
                      <a:gd name="T63" fmla="*/ 148 h 170"/>
                      <a:gd name="T64" fmla="*/ 242 w 296"/>
                      <a:gd name="T65" fmla="*/ 70 h 170"/>
                      <a:gd name="T66" fmla="*/ 242 w 296"/>
                      <a:gd name="T67" fmla="*/ 70 h 170"/>
                      <a:gd name="T68" fmla="*/ 222 w 296"/>
                      <a:gd name="T69" fmla="*/ 12 h 170"/>
                      <a:gd name="T70" fmla="*/ 222 w 296"/>
                      <a:gd name="T71" fmla="*/ 12 h 1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296" h="170">
                        <a:moveTo>
                          <a:pt x="232" y="0"/>
                        </a:moveTo>
                        <a:lnTo>
                          <a:pt x="232" y="0"/>
                        </a:lnTo>
                        <a:lnTo>
                          <a:pt x="126" y="0"/>
                        </a:lnTo>
                        <a:lnTo>
                          <a:pt x="126" y="0"/>
                        </a:lnTo>
                        <a:lnTo>
                          <a:pt x="20" y="0"/>
                        </a:lnTo>
                        <a:lnTo>
                          <a:pt x="20" y="0"/>
                        </a:lnTo>
                        <a:lnTo>
                          <a:pt x="12" y="70"/>
                        </a:lnTo>
                        <a:lnTo>
                          <a:pt x="12" y="70"/>
                        </a:lnTo>
                        <a:lnTo>
                          <a:pt x="0" y="170"/>
                        </a:lnTo>
                        <a:lnTo>
                          <a:pt x="0" y="170"/>
                        </a:lnTo>
                        <a:lnTo>
                          <a:pt x="148" y="170"/>
                        </a:lnTo>
                        <a:lnTo>
                          <a:pt x="148" y="170"/>
                        </a:lnTo>
                        <a:lnTo>
                          <a:pt x="296" y="170"/>
                        </a:lnTo>
                        <a:lnTo>
                          <a:pt x="296" y="170"/>
                        </a:lnTo>
                        <a:lnTo>
                          <a:pt x="260" y="70"/>
                        </a:lnTo>
                        <a:lnTo>
                          <a:pt x="260" y="70"/>
                        </a:lnTo>
                        <a:lnTo>
                          <a:pt x="232" y="0"/>
                        </a:lnTo>
                        <a:lnTo>
                          <a:pt x="232" y="0"/>
                        </a:lnTo>
                        <a:close/>
                        <a:moveTo>
                          <a:pt x="222" y="12"/>
                        </a:moveTo>
                        <a:lnTo>
                          <a:pt x="222" y="12"/>
                        </a:lnTo>
                        <a:lnTo>
                          <a:pt x="128" y="12"/>
                        </a:lnTo>
                        <a:lnTo>
                          <a:pt x="128" y="12"/>
                        </a:lnTo>
                        <a:lnTo>
                          <a:pt x="34" y="12"/>
                        </a:lnTo>
                        <a:lnTo>
                          <a:pt x="34" y="12"/>
                        </a:lnTo>
                        <a:lnTo>
                          <a:pt x="28" y="70"/>
                        </a:lnTo>
                        <a:lnTo>
                          <a:pt x="28" y="70"/>
                        </a:lnTo>
                        <a:lnTo>
                          <a:pt x="22" y="148"/>
                        </a:lnTo>
                        <a:lnTo>
                          <a:pt x="22" y="148"/>
                        </a:lnTo>
                        <a:lnTo>
                          <a:pt x="146" y="148"/>
                        </a:lnTo>
                        <a:lnTo>
                          <a:pt x="146" y="148"/>
                        </a:lnTo>
                        <a:lnTo>
                          <a:pt x="268" y="148"/>
                        </a:lnTo>
                        <a:lnTo>
                          <a:pt x="268" y="148"/>
                        </a:lnTo>
                        <a:lnTo>
                          <a:pt x="242" y="70"/>
                        </a:lnTo>
                        <a:lnTo>
                          <a:pt x="242" y="70"/>
                        </a:lnTo>
                        <a:lnTo>
                          <a:pt x="222" y="12"/>
                        </a:lnTo>
                        <a:lnTo>
                          <a:pt x="222" y="1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3" name="Rectangle 36"/>
                  <p:cNvSpPr>
                    <a:spLocks noChangeArrowheads="1"/>
                  </p:cNvSpPr>
                  <p:nvPr/>
                </p:nvSpPr>
                <p:spPr bwMode="auto">
                  <a:xfrm>
                    <a:off x="1690683" y="4319570"/>
                    <a:ext cx="69850" cy="41274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4" name="Rectangle 37"/>
                  <p:cNvSpPr>
                    <a:spLocks noChangeArrowheads="1"/>
                  </p:cNvSpPr>
                  <p:nvPr/>
                </p:nvSpPr>
                <p:spPr bwMode="auto">
                  <a:xfrm>
                    <a:off x="2474905" y="4319570"/>
                    <a:ext cx="66675" cy="41274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5" name="Rectangle 38"/>
                  <p:cNvSpPr>
                    <a:spLocks noChangeArrowheads="1"/>
                  </p:cNvSpPr>
                  <p:nvPr/>
                </p:nvSpPr>
                <p:spPr bwMode="auto">
                  <a:xfrm>
                    <a:off x="1960556" y="4319570"/>
                    <a:ext cx="69850" cy="41274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6" name="Rectangle 39"/>
                  <p:cNvSpPr>
                    <a:spLocks noChangeArrowheads="1"/>
                  </p:cNvSpPr>
                  <p:nvPr/>
                </p:nvSpPr>
                <p:spPr bwMode="auto">
                  <a:xfrm>
                    <a:off x="2205032" y="4319570"/>
                    <a:ext cx="66675" cy="41274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7" name="Freeform 40"/>
                  <p:cNvSpPr>
                    <a:spLocks/>
                  </p:cNvSpPr>
                  <p:nvPr/>
                </p:nvSpPr>
                <p:spPr bwMode="auto">
                  <a:xfrm>
                    <a:off x="2100258" y="3217850"/>
                    <a:ext cx="507997" cy="806447"/>
                  </a:xfrm>
                  <a:custGeom>
                    <a:avLst/>
                    <a:gdLst>
                      <a:gd name="T0" fmla="*/ 320 w 320"/>
                      <a:gd name="T1" fmla="*/ 0 h 508"/>
                      <a:gd name="T2" fmla="*/ 302 w 320"/>
                      <a:gd name="T3" fmla="*/ 18 h 508"/>
                      <a:gd name="T4" fmla="*/ 220 w 320"/>
                      <a:gd name="T5" fmla="*/ 126 h 508"/>
                      <a:gd name="T6" fmla="*/ 212 w 320"/>
                      <a:gd name="T7" fmla="*/ 140 h 508"/>
                      <a:gd name="T8" fmla="*/ 206 w 320"/>
                      <a:gd name="T9" fmla="*/ 150 h 508"/>
                      <a:gd name="T10" fmla="*/ 204 w 320"/>
                      <a:gd name="T11" fmla="*/ 150 h 508"/>
                      <a:gd name="T12" fmla="*/ 190 w 320"/>
                      <a:gd name="T13" fmla="*/ 158 h 508"/>
                      <a:gd name="T14" fmla="*/ 176 w 320"/>
                      <a:gd name="T15" fmla="*/ 156 h 508"/>
                      <a:gd name="T16" fmla="*/ 162 w 320"/>
                      <a:gd name="T17" fmla="*/ 154 h 508"/>
                      <a:gd name="T18" fmla="*/ 22 w 320"/>
                      <a:gd name="T19" fmla="*/ 148 h 508"/>
                      <a:gd name="T20" fmla="*/ 0 w 320"/>
                      <a:gd name="T21" fmla="*/ 150 h 508"/>
                      <a:gd name="T22" fmla="*/ 6 w 320"/>
                      <a:gd name="T23" fmla="*/ 152 h 508"/>
                      <a:gd name="T24" fmla="*/ 70 w 320"/>
                      <a:gd name="T25" fmla="*/ 162 h 508"/>
                      <a:gd name="T26" fmla="*/ 160 w 320"/>
                      <a:gd name="T27" fmla="*/ 174 h 508"/>
                      <a:gd name="T28" fmla="*/ 188 w 320"/>
                      <a:gd name="T29" fmla="*/ 174 h 508"/>
                      <a:gd name="T30" fmla="*/ 190 w 320"/>
                      <a:gd name="T31" fmla="*/ 178 h 508"/>
                      <a:gd name="T32" fmla="*/ 190 w 320"/>
                      <a:gd name="T33" fmla="*/ 508 h 508"/>
                      <a:gd name="T34" fmla="*/ 212 w 320"/>
                      <a:gd name="T35" fmla="*/ 212 h 508"/>
                      <a:gd name="T36" fmla="*/ 254 w 320"/>
                      <a:gd name="T37" fmla="*/ 292 h 508"/>
                      <a:gd name="T38" fmla="*/ 286 w 320"/>
                      <a:gd name="T39" fmla="*/ 348 h 508"/>
                      <a:gd name="T40" fmla="*/ 290 w 320"/>
                      <a:gd name="T41" fmla="*/ 352 h 508"/>
                      <a:gd name="T42" fmla="*/ 284 w 320"/>
                      <a:gd name="T43" fmla="*/ 332 h 508"/>
                      <a:gd name="T44" fmla="*/ 232 w 320"/>
                      <a:gd name="T45" fmla="*/ 202 h 508"/>
                      <a:gd name="T46" fmla="*/ 224 w 320"/>
                      <a:gd name="T47" fmla="*/ 188 h 508"/>
                      <a:gd name="T48" fmla="*/ 218 w 320"/>
                      <a:gd name="T49" fmla="*/ 178 h 508"/>
                      <a:gd name="T50" fmla="*/ 220 w 320"/>
                      <a:gd name="T51" fmla="*/ 168 h 508"/>
                      <a:gd name="T52" fmla="*/ 218 w 320"/>
                      <a:gd name="T53" fmla="*/ 160 h 508"/>
                      <a:gd name="T54" fmla="*/ 228 w 320"/>
                      <a:gd name="T55" fmla="*/ 150 h 508"/>
                      <a:gd name="T56" fmla="*/ 238 w 320"/>
                      <a:gd name="T57" fmla="*/ 138 h 508"/>
                      <a:gd name="T58" fmla="*/ 312 w 320"/>
                      <a:gd name="T59" fmla="*/ 20 h 508"/>
                      <a:gd name="T60" fmla="*/ 320 w 320"/>
                      <a:gd name="T61" fmla="*/ 0 h 508"/>
                      <a:gd name="T62" fmla="*/ 320 w 320"/>
                      <a:gd name="T63" fmla="*/ 0 h 5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320" h="508">
                        <a:moveTo>
                          <a:pt x="320" y="0"/>
                        </a:moveTo>
                        <a:lnTo>
                          <a:pt x="320" y="0"/>
                        </a:lnTo>
                        <a:lnTo>
                          <a:pt x="314" y="6"/>
                        </a:lnTo>
                        <a:lnTo>
                          <a:pt x="302" y="18"/>
                        </a:lnTo>
                        <a:lnTo>
                          <a:pt x="272" y="56"/>
                        </a:lnTo>
                        <a:lnTo>
                          <a:pt x="220" y="126"/>
                        </a:lnTo>
                        <a:lnTo>
                          <a:pt x="220" y="126"/>
                        </a:lnTo>
                        <a:lnTo>
                          <a:pt x="212" y="140"/>
                        </a:lnTo>
                        <a:lnTo>
                          <a:pt x="206" y="150"/>
                        </a:lnTo>
                        <a:lnTo>
                          <a:pt x="206" y="150"/>
                        </a:lnTo>
                        <a:lnTo>
                          <a:pt x="204" y="150"/>
                        </a:lnTo>
                        <a:lnTo>
                          <a:pt x="204" y="150"/>
                        </a:lnTo>
                        <a:lnTo>
                          <a:pt x="196" y="152"/>
                        </a:lnTo>
                        <a:lnTo>
                          <a:pt x="190" y="158"/>
                        </a:lnTo>
                        <a:lnTo>
                          <a:pt x="190" y="158"/>
                        </a:lnTo>
                        <a:lnTo>
                          <a:pt x="176" y="156"/>
                        </a:lnTo>
                        <a:lnTo>
                          <a:pt x="162" y="154"/>
                        </a:lnTo>
                        <a:lnTo>
                          <a:pt x="162" y="154"/>
                        </a:lnTo>
                        <a:lnTo>
                          <a:pt x="70" y="148"/>
                        </a:lnTo>
                        <a:lnTo>
                          <a:pt x="22" y="148"/>
                        </a:lnTo>
                        <a:lnTo>
                          <a:pt x="6" y="148"/>
                        </a:lnTo>
                        <a:lnTo>
                          <a:pt x="0" y="150"/>
                        </a:lnTo>
                        <a:lnTo>
                          <a:pt x="0" y="150"/>
                        </a:lnTo>
                        <a:lnTo>
                          <a:pt x="6" y="152"/>
                        </a:lnTo>
                        <a:lnTo>
                          <a:pt x="22" y="156"/>
                        </a:lnTo>
                        <a:lnTo>
                          <a:pt x="70" y="162"/>
                        </a:lnTo>
                        <a:lnTo>
                          <a:pt x="160" y="174"/>
                        </a:lnTo>
                        <a:lnTo>
                          <a:pt x="160" y="174"/>
                        </a:lnTo>
                        <a:lnTo>
                          <a:pt x="176" y="174"/>
                        </a:lnTo>
                        <a:lnTo>
                          <a:pt x="188" y="174"/>
                        </a:lnTo>
                        <a:lnTo>
                          <a:pt x="188" y="174"/>
                        </a:lnTo>
                        <a:lnTo>
                          <a:pt x="190" y="178"/>
                        </a:lnTo>
                        <a:lnTo>
                          <a:pt x="196" y="182"/>
                        </a:lnTo>
                        <a:lnTo>
                          <a:pt x="190" y="508"/>
                        </a:lnTo>
                        <a:lnTo>
                          <a:pt x="216" y="508"/>
                        </a:lnTo>
                        <a:lnTo>
                          <a:pt x="212" y="212"/>
                        </a:lnTo>
                        <a:lnTo>
                          <a:pt x="212" y="212"/>
                        </a:lnTo>
                        <a:lnTo>
                          <a:pt x="254" y="292"/>
                        </a:lnTo>
                        <a:lnTo>
                          <a:pt x="278" y="334"/>
                        </a:lnTo>
                        <a:lnTo>
                          <a:pt x="286" y="348"/>
                        </a:lnTo>
                        <a:lnTo>
                          <a:pt x="290" y="352"/>
                        </a:lnTo>
                        <a:lnTo>
                          <a:pt x="290" y="352"/>
                        </a:lnTo>
                        <a:lnTo>
                          <a:pt x="290" y="346"/>
                        </a:lnTo>
                        <a:lnTo>
                          <a:pt x="284" y="332"/>
                        </a:lnTo>
                        <a:lnTo>
                          <a:pt x="266" y="286"/>
                        </a:lnTo>
                        <a:lnTo>
                          <a:pt x="232" y="202"/>
                        </a:lnTo>
                        <a:lnTo>
                          <a:pt x="232" y="202"/>
                        </a:lnTo>
                        <a:lnTo>
                          <a:pt x="224" y="188"/>
                        </a:lnTo>
                        <a:lnTo>
                          <a:pt x="218" y="178"/>
                        </a:lnTo>
                        <a:lnTo>
                          <a:pt x="218" y="178"/>
                        </a:lnTo>
                        <a:lnTo>
                          <a:pt x="220" y="172"/>
                        </a:lnTo>
                        <a:lnTo>
                          <a:pt x="220" y="168"/>
                        </a:lnTo>
                        <a:lnTo>
                          <a:pt x="220" y="168"/>
                        </a:lnTo>
                        <a:lnTo>
                          <a:pt x="218" y="160"/>
                        </a:lnTo>
                        <a:lnTo>
                          <a:pt x="218" y="160"/>
                        </a:lnTo>
                        <a:lnTo>
                          <a:pt x="228" y="150"/>
                        </a:lnTo>
                        <a:lnTo>
                          <a:pt x="238" y="138"/>
                        </a:lnTo>
                        <a:lnTo>
                          <a:pt x="238" y="138"/>
                        </a:lnTo>
                        <a:lnTo>
                          <a:pt x="286" y="62"/>
                        </a:lnTo>
                        <a:lnTo>
                          <a:pt x="312" y="20"/>
                        </a:lnTo>
                        <a:lnTo>
                          <a:pt x="320" y="6"/>
                        </a:lnTo>
                        <a:lnTo>
                          <a:pt x="320" y="0"/>
                        </a:lnTo>
                        <a:lnTo>
                          <a:pt x="320" y="0"/>
                        </a:lnTo>
                        <a:lnTo>
                          <a:pt x="320" y="0"/>
                        </a:lnTo>
                        <a:lnTo>
                          <a:pt x="32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8" name="Freeform 41"/>
                  <p:cNvSpPr>
                    <a:spLocks/>
                  </p:cNvSpPr>
                  <p:nvPr/>
                </p:nvSpPr>
                <p:spPr bwMode="auto">
                  <a:xfrm>
                    <a:off x="2058981" y="3513123"/>
                    <a:ext cx="323850" cy="511174"/>
                  </a:xfrm>
                  <a:custGeom>
                    <a:avLst/>
                    <a:gdLst>
                      <a:gd name="T0" fmla="*/ 150 w 204"/>
                      <a:gd name="T1" fmla="*/ 0 h 322"/>
                      <a:gd name="T2" fmla="*/ 150 w 204"/>
                      <a:gd name="T3" fmla="*/ 0 h 322"/>
                      <a:gd name="T4" fmla="*/ 146 w 204"/>
                      <a:gd name="T5" fmla="*/ 2 h 322"/>
                      <a:gd name="T6" fmla="*/ 144 w 204"/>
                      <a:gd name="T7" fmla="*/ 12 h 322"/>
                      <a:gd name="T8" fmla="*/ 134 w 204"/>
                      <a:gd name="T9" fmla="*/ 40 h 322"/>
                      <a:gd name="T10" fmla="*/ 118 w 204"/>
                      <a:gd name="T11" fmla="*/ 90 h 322"/>
                      <a:gd name="T12" fmla="*/ 118 w 204"/>
                      <a:gd name="T13" fmla="*/ 90 h 322"/>
                      <a:gd name="T14" fmla="*/ 116 w 204"/>
                      <a:gd name="T15" fmla="*/ 108 h 322"/>
                      <a:gd name="T16" fmla="*/ 116 w 204"/>
                      <a:gd name="T17" fmla="*/ 108 h 322"/>
                      <a:gd name="T18" fmla="*/ 110 w 204"/>
                      <a:gd name="T19" fmla="*/ 110 h 322"/>
                      <a:gd name="T20" fmla="*/ 108 w 204"/>
                      <a:gd name="T21" fmla="*/ 116 h 322"/>
                      <a:gd name="T22" fmla="*/ 108 w 204"/>
                      <a:gd name="T23" fmla="*/ 116 h 322"/>
                      <a:gd name="T24" fmla="*/ 90 w 204"/>
                      <a:gd name="T25" fmla="*/ 118 h 322"/>
                      <a:gd name="T26" fmla="*/ 90 w 204"/>
                      <a:gd name="T27" fmla="*/ 118 h 322"/>
                      <a:gd name="T28" fmla="*/ 38 w 204"/>
                      <a:gd name="T29" fmla="*/ 134 h 322"/>
                      <a:gd name="T30" fmla="*/ 10 w 204"/>
                      <a:gd name="T31" fmla="*/ 144 h 322"/>
                      <a:gd name="T32" fmla="*/ 2 w 204"/>
                      <a:gd name="T33" fmla="*/ 148 h 322"/>
                      <a:gd name="T34" fmla="*/ 0 w 204"/>
                      <a:gd name="T35" fmla="*/ 150 h 322"/>
                      <a:gd name="T36" fmla="*/ 0 w 204"/>
                      <a:gd name="T37" fmla="*/ 150 h 322"/>
                      <a:gd name="T38" fmla="*/ 2 w 204"/>
                      <a:gd name="T39" fmla="*/ 150 h 322"/>
                      <a:gd name="T40" fmla="*/ 12 w 204"/>
                      <a:gd name="T41" fmla="*/ 148 h 322"/>
                      <a:gd name="T42" fmla="*/ 40 w 204"/>
                      <a:gd name="T43" fmla="*/ 142 h 322"/>
                      <a:gd name="T44" fmla="*/ 94 w 204"/>
                      <a:gd name="T45" fmla="*/ 130 h 322"/>
                      <a:gd name="T46" fmla="*/ 94 w 204"/>
                      <a:gd name="T47" fmla="*/ 130 h 322"/>
                      <a:gd name="T48" fmla="*/ 110 w 204"/>
                      <a:gd name="T49" fmla="*/ 124 h 322"/>
                      <a:gd name="T50" fmla="*/ 110 w 204"/>
                      <a:gd name="T51" fmla="*/ 124 h 322"/>
                      <a:gd name="T52" fmla="*/ 112 w 204"/>
                      <a:gd name="T53" fmla="*/ 126 h 322"/>
                      <a:gd name="T54" fmla="*/ 110 w 204"/>
                      <a:gd name="T55" fmla="*/ 322 h 322"/>
                      <a:gd name="T56" fmla="*/ 126 w 204"/>
                      <a:gd name="T57" fmla="*/ 322 h 322"/>
                      <a:gd name="T58" fmla="*/ 122 w 204"/>
                      <a:gd name="T59" fmla="*/ 130 h 322"/>
                      <a:gd name="T60" fmla="*/ 122 w 204"/>
                      <a:gd name="T61" fmla="*/ 130 h 322"/>
                      <a:gd name="T62" fmla="*/ 132 w 204"/>
                      <a:gd name="T63" fmla="*/ 140 h 322"/>
                      <a:gd name="T64" fmla="*/ 132 w 204"/>
                      <a:gd name="T65" fmla="*/ 140 h 322"/>
                      <a:gd name="T66" fmla="*/ 172 w 204"/>
                      <a:gd name="T67" fmla="*/ 178 h 322"/>
                      <a:gd name="T68" fmla="*/ 194 w 204"/>
                      <a:gd name="T69" fmla="*/ 198 h 322"/>
                      <a:gd name="T70" fmla="*/ 200 w 204"/>
                      <a:gd name="T71" fmla="*/ 202 h 322"/>
                      <a:gd name="T72" fmla="*/ 204 w 204"/>
                      <a:gd name="T73" fmla="*/ 204 h 322"/>
                      <a:gd name="T74" fmla="*/ 204 w 204"/>
                      <a:gd name="T75" fmla="*/ 204 h 322"/>
                      <a:gd name="T76" fmla="*/ 202 w 204"/>
                      <a:gd name="T77" fmla="*/ 202 h 322"/>
                      <a:gd name="T78" fmla="*/ 196 w 204"/>
                      <a:gd name="T79" fmla="*/ 194 h 322"/>
                      <a:gd name="T80" fmla="*/ 178 w 204"/>
                      <a:gd name="T81" fmla="*/ 172 h 322"/>
                      <a:gd name="T82" fmla="*/ 140 w 204"/>
                      <a:gd name="T83" fmla="*/ 132 h 322"/>
                      <a:gd name="T84" fmla="*/ 140 w 204"/>
                      <a:gd name="T85" fmla="*/ 132 h 322"/>
                      <a:gd name="T86" fmla="*/ 128 w 204"/>
                      <a:gd name="T87" fmla="*/ 120 h 322"/>
                      <a:gd name="T88" fmla="*/ 128 w 204"/>
                      <a:gd name="T89" fmla="*/ 120 h 322"/>
                      <a:gd name="T90" fmla="*/ 128 w 204"/>
                      <a:gd name="T91" fmla="*/ 120 h 322"/>
                      <a:gd name="T92" fmla="*/ 128 w 204"/>
                      <a:gd name="T93" fmla="*/ 120 h 322"/>
                      <a:gd name="T94" fmla="*/ 126 w 204"/>
                      <a:gd name="T95" fmla="*/ 114 h 322"/>
                      <a:gd name="T96" fmla="*/ 124 w 204"/>
                      <a:gd name="T97" fmla="*/ 110 h 322"/>
                      <a:gd name="T98" fmla="*/ 124 w 204"/>
                      <a:gd name="T99" fmla="*/ 110 h 322"/>
                      <a:gd name="T100" fmla="*/ 130 w 204"/>
                      <a:gd name="T101" fmla="*/ 94 h 322"/>
                      <a:gd name="T102" fmla="*/ 130 w 204"/>
                      <a:gd name="T103" fmla="*/ 94 h 322"/>
                      <a:gd name="T104" fmla="*/ 142 w 204"/>
                      <a:gd name="T105" fmla="*/ 42 h 322"/>
                      <a:gd name="T106" fmla="*/ 148 w 204"/>
                      <a:gd name="T107" fmla="*/ 12 h 322"/>
                      <a:gd name="T108" fmla="*/ 150 w 204"/>
                      <a:gd name="T109" fmla="*/ 4 h 322"/>
                      <a:gd name="T110" fmla="*/ 150 w 204"/>
                      <a:gd name="T111" fmla="*/ 0 h 322"/>
                      <a:gd name="T112" fmla="*/ 150 w 204"/>
                      <a:gd name="T113" fmla="*/ 0 h 3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04" h="322">
                        <a:moveTo>
                          <a:pt x="150" y="0"/>
                        </a:moveTo>
                        <a:lnTo>
                          <a:pt x="150" y="0"/>
                        </a:lnTo>
                        <a:lnTo>
                          <a:pt x="146" y="2"/>
                        </a:lnTo>
                        <a:lnTo>
                          <a:pt x="144" y="12"/>
                        </a:lnTo>
                        <a:lnTo>
                          <a:pt x="134" y="40"/>
                        </a:lnTo>
                        <a:lnTo>
                          <a:pt x="118" y="90"/>
                        </a:lnTo>
                        <a:lnTo>
                          <a:pt x="118" y="90"/>
                        </a:lnTo>
                        <a:lnTo>
                          <a:pt x="116" y="108"/>
                        </a:lnTo>
                        <a:lnTo>
                          <a:pt x="116" y="108"/>
                        </a:lnTo>
                        <a:lnTo>
                          <a:pt x="110" y="110"/>
                        </a:lnTo>
                        <a:lnTo>
                          <a:pt x="108" y="116"/>
                        </a:lnTo>
                        <a:lnTo>
                          <a:pt x="108" y="116"/>
                        </a:lnTo>
                        <a:lnTo>
                          <a:pt x="90" y="118"/>
                        </a:lnTo>
                        <a:lnTo>
                          <a:pt x="90" y="118"/>
                        </a:lnTo>
                        <a:lnTo>
                          <a:pt x="38" y="134"/>
                        </a:lnTo>
                        <a:lnTo>
                          <a:pt x="10" y="144"/>
                        </a:lnTo>
                        <a:lnTo>
                          <a:pt x="2" y="148"/>
                        </a:lnTo>
                        <a:lnTo>
                          <a:pt x="0" y="150"/>
                        </a:lnTo>
                        <a:lnTo>
                          <a:pt x="0" y="150"/>
                        </a:lnTo>
                        <a:lnTo>
                          <a:pt x="2" y="150"/>
                        </a:lnTo>
                        <a:lnTo>
                          <a:pt x="12" y="148"/>
                        </a:lnTo>
                        <a:lnTo>
                          <a:pt x="40" y="142"/>
                        </a:lnTo>
                        <a:lnTo>
                          <a:pt x="94" y="130"/>
                        </a:lnTo>
                        <a:lnTo>
                          <a:pt x="94" y="130"/>
                        </a:lnTo>
                        <a:lnTo>
                          <a:pt x="110" y="124"/>
                        </a:lnTo>
                        <a:lnTo>
                          <a:pt x="110" y="124"/>
                        </a:lnTo>
                        <a:lnTo>
                          <a:pt x="112" y="126"/>
                        </a:lnTo>
                        <a:lnTo>
                          <a:pt x="110" y="322"/>
                        </a:lnTo>
                        <a:lnTo>
                          <a:pt x="126" y="322"/>
                        </a:lnTo>
                        <a:lnTo>
                          <a:pt x="122" y="130"/>
                        </a:lnTo>
                        <a:lnTo>
                          <a:pt x="122" y="130"/>
                        </a:lnTo>
                        <a:lnTo>
                          <a:pt x="132" y="140"/>
                        </a:lnTo>
                        <a:lnTo>
                          <a:pt x="132" y="140"/>
                        </a:lnTo>
                        <a:lnTo>
                          <a:pt x="172" y="178"/>
                        </a:lnTo>
                        <a:lnTo>
                          <a:pt x="194" y="198"/>
                        </a:lnTo>
                        <a:lnTo>
                          <a:pt x="200" y="202"/>
                        </a:lnTo>
                        <a:lnTo>
                          <a:pt x="204" y="204"/>
                        </a:lnTo>
                        <a:lnTo>
                          <a:pt x="204" y="204"/>
                        </a:lnTo>
                        <a:lnTo>
                          <a:pt x="202" y="202"/>
                        </a:lnTo>
                        <a:lnTo>
                          <a:pt x="196" y="194"/>
                        </a:lnTo>
                        <a:lnTo>
                          <a:pt x="178" y="172"/>
                        </a:lnTo>
                        <a:lnTo>
                          <a:pt x="140" y="132"/>
                        </a:lnTo>
                        <a:lnTo>
                          <a:pt x="140" y="132"/>
                        </a:lnTo>
                        <a:lnTo>
                          <a:pt x="128" y="120"/>
                        </a:lnTo>
                        <a:lnTo>
                          <a:pt x="128" y="120"/>
                        </a:lnTo>
                        <a:lnTo>
                          <a:pt x="128" y="120"/>
                        </a:lnTo>
                        <a:lnTo>
                          <a:pt x="128" y="120"/>
                        </a:lnTo>
                        <a:lnTo>
                          <a:pt x="126" y="114"/>
                        </a:lnTo>
                        <a:lnTo>
                          <a:pt x="124" y="110"/>
                        </a:lnTo>
                        <a:lnTo>
                          <a:pt x="124" y="110"/>
                        </a:lnTo>
                        <a:lnTo>
                          <a:pt x="130" y="94"/>
                        </a:lnTo>
                        <a:lnTo>
                          <a:pt x="130" y="94"/>
                        </a:lnTo>
                        <a:lnTo>
                          <a:pt x="142" y="42"/>
                        </a:lnTo>
                        <a:lnTo>
                          <a:pt x="148" y="12"/>
                        </a:lnTo>
                        <a:lnTo>
                          <a:pt x="150" y="4"/>
                        </a:lnTo>
                        <a:lnTo>
                          <a:pt x="150" y="0"/>
                        </a:lnTo>
                        <a:lnTo>
                          <a:pt x="15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59" name="Freeform 42"/>
                  <p:cNvSpPr>
                    <a:spLocks/>
                  </p:cNvSpPr>
                  <p:nvPr/>
                </p:nvSpPr>
                <p:spPr bwMode="auto">
                  <a:xfrm>
                    <a:off x="1719259" y="3395648"/>
                    <a:ext cx="203200" cy="203200"/>
                  </a:xfrm>
                  <a:custGeom>
                    <a:avLst/>
                    <a:gdLst>
                      <a:gd name="T0" fmla="*/ 64 w 128"/>
                      <a:gd name="T1" fmla="*/ 0 h 128"/>
                      <a:gd name="T2" fmla="*/ 64 w 128"/>
                      <a:gd name="T3" fmla="*/ 0 h 128"/>
                      <a:gd name="T4" fmla="*/ 76 w 128"/>
                      <a:gd name="T5" fmla="*/ 2 h 128"/>
                      <a:gd name="T6" fmla="*/ 88 w 128"/>
                      <a:gd name="T7" fmla="*/ 6 h 128"/>
                      <a:gd name="T8" fmla="*/ 100 w 128"/>
                      <a:gd name="T9" fmla="*/ 10 h 128"/>
                      <a:gd name="T10" fmla="*/ 108 w 128"/>
                      <a:gd name="T11" fmla="*/ 18 h 128"/>
                      <a:gd name="T12" fmla="*/ 116 w 128"/>
                      <a:gd name="T13" fmla="*/ 28 h 128"/>
                      <a:gd name="T14" fmla="*/ 122 w 128"/>
                      <a:gd name="T15" fmla="*/ 38 h 128"/>
                      <a:gd name="T16" fmla="*/ 126 w 128"/>
                      <a:gd name="T17" fmla="*/ 50 h 128"/>
                      <a:gd name="T18" fmla="*/ 128 w 128"/>
                      <a:gd name="T19" fmla="*/ 64 h 128"/>
                      <a:gd name="T20" fmla="*/ 128 w 128"/>
                      <a:gd name="T21" fmla="*/ 64 h 128"/>
                      <a:gd name="T22" fmla="*/ 126 w 128"/>
                      <a:gd name="T23" fmla="*/ 76 h 128"/>
                      <a:gd name="T24" fmla="*/ 122 w 128"/>
                      <a:gd name="T25" fmla="*/ 88 h 128"/>
                      <a:gd name="T26" fmla="*/ 116 w 128"/>
                      <a:gd name="T27" fmla="*/ 100 h 128"/>
                      <a:gd name="T28" fmla="*/ 108 w 128"/>
                      <a:gd name="T29" fmla="*/ 108 h 128"/>
                      <a:gd name="T30" fmla="*/ 100 w 128"/>
                      <a:gd name="T31" fmla="*/ 116 h 128"/>
                      <a:gd name="T32" fmla="*/ 88 w 128"/>
                      <a:gd name="T33" fmla="*/ 122 h 128"/>
                      <a:gd name="T34" fmla="*/ 76 w 128"/>
                      <a:gd name="T35" fmla="*/ 126 h 128"/>
                      <a:gd name="T36" fmla="*/ 64 w 128"/>
                      <a:gd name="T37" fmla="*/ 128 h 128"/>
                      <a:gd name="T38" fmla="*/ 64 w 128"/>
                      <a:gd name="T39" fmla="*/ 128 h 128"/>
                      <a:gd name="T40" fmla="*/ 50 w 128"/>
                      <a:gd name="T41" fmla="*/ 126 h 128"/>
                      <a:gd name="T42" fmla="*/ 38 w 128"/>
                      <a:gd name="T43" fmla="*/ 122 h 128"/>
                      <a:gd name="T44" fmla="*/ 28 w 128"/>
                      <a:gd name="T45" fmla="*/ 116 h 128"/>
                      <a:gd name="T46" fmla="*/ 18 w 128"/>
                      <a:gd name="T47" fmla="*/ 108 h 128"/>
                      <a:gd name="T48" fmla="*/ 10 w 128"/>
                      <a:gd name="T49" fmla="*/ 100 h 128"/>
                      <a:gd name="T50" fmla="*/ 4 w 128"/>
                      <a:gd name="T51" fmla="*/ 88 h 128"/>
                      <a:gd name="T52" fmla="*/ 0 w 128"/>
                      <a:gd name="T53" fmla="*/ 76 h 128"/>
                      <a:gd name="T54" fmla="*/ 0 w 128"/>
                      <a:gd name="T55" fmla="*/ 64 h 128"/>
                      <a:gd name="T56" fmla="*/ 0 w 128"/>
                      <a:gd name="T57" fmla="*/ 64 h 128"/>
                      <a:gd name="T58" fmla="*/ 0 w 128"/>
                      <a:gd name="T59" fmla="*/ 50 h 128"/>
                      <a:gd name="T60" fmla="*/ 4 w 128"/>
                      <a:gd name="T61" fmla="*/ 38 h 128"/>
                      <a:gd name="T62" fmla="*/ 10 w 128"/>
                      <a:gd name="T63" fmla="*/ 28 h 128"/>
                      <a:gd name="T64" fmla="*/ 18 w 128"/>
                      <a:gd name="T65" fmla="*/ 18 h 128"/>
                      <a:gd name="T66" fmla="*/ 28 w 128"/>
                      <a:gd name="T67" fmla="*/ 10 h 128"/>
                      <a:gd name="T68" fmla="*/ 38 w 128"/>
                      <a:gd name="T69" fmla="*/ 6 h 128"/>
                      <a:gd name="T70" fmla="*/ 50 w 128"/>
                      <a:gd name="T71" fmla="*/ 2 h 128"/>
                      <a:gd name="T72" fmla="*/ 64 w 128"/>
                      <a:gd name="T73" fmla="*/ 0 h 128"/>
                      <a:gd name="T74" fmla="*/ 64 w 128"/>
                      <a:gd name="T75" fmla="*/ 0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28" h="128">
                        <a:moveTo>
                          <a:pt x="64" y="0"/>
                        </a:moveTo>
                        <a:lnTo>
                          <a:pt x="64" y="0"/>
                        </a:lnTo>
                        <a:lnTo>
                          <a:pt x="76" y="2"/>
                        </a:lnTo>
                        <a:lnTo>
                          <a:pt x="88" y="6"/>
                        </a:lnTo>
                        <a:lnTo>
                          <a:pt x="100" y="10"/>
                        </a:lnTo>
                        <a:lnTo>
                          <a:pt x="108" y="18"/>
                        </a:lnTo>
                        <a:lnTo>
                          <a:pt x="116" y="28"/>
                        </a:lnTo>
                        <a:lnTo>
                          <a:pt x="122" y="38"/>
                        </a:lnTo>
                        <a:lnTo>
                          <a:pt x="126" y="50"/>
                        </a:lnTo>
                        <a:lnTo>
                          <a:pt x="128" y="64"/>
                        </a:lnTo>
                        <a:lnTo>
                          <a:pt x="128" y="64"/>
                        </a:lnTo>
                        <a:lnTo>
                          <a:pt x="126" y="76"/>
                        </a:lnTo>
                        <a:lnTo>
                          <a:pt x="122" y="88"/>
                        </a:lnTo>
                        <a:lnTo>
                          <a:pt x="116" y="100"/>
                        </a:lnTo>
                        <a:lnTo>
                          <a:pt x="108" y="108"/>
                        </a:lnTo>
                        <a:lnTo>
                          <a:pt x="100" y="116"/>
                        </a:lnTo>
                        <a:lnTo>
                          <a:pt x="88" y="122"/>
                        </a:lnTo>
                        <a:lnTo>
                          <a:pt x="76" y="126"/>
                        </a:lnTo>
                        <a:lnTo>
                          <a:pt x="64" y="128"/>
                        </a:lnTo>
                        <a:lnTo>
                          <a:pt x="64" y="128"/>
                        </a:lnTo>
                        <a:lnTo>
                          <a:pt x="50" y="126"/>
                        </a:lnTo>
                        <a:lnTo>
                          <a:pt x="38" y="122"/>
                        </a:lnTo>
                        <a:lnTo>
                          <a:pt x="28" y="116"/>
                        </a:lnTo>
                        <a:lnTo>
                          <a:pt x="18" y="108"/>
                        </a:lnTo>
                        <a:lnTo>
                          <a:pt x="10" y="100"/>
                        </a:lnTo>
                        <a:lnTo>
                          <a:pt x="4" y="88"/>
                        </a:lnTo>
                        <a:lnTo>
                          <a:pt x="0" y="76"/>
                        </a:lnTo>
                        <a:lnTo>
                          <a:pt x="0" y="64"/>
                        </a:lnTo>
                        <a:lnTo>
                          <a:pt x="0" y="64"/>
                        </a:lnTo>
                        <a:lnTo>
                          <a:pt x="0" y="50"/>
                        </a:lnTo>
                        <a:lnTo>
                          <a:pt x="4" y="38"/>
                        </a:lnTo>
                        <a:lnTo>
                          <a:pt x="10" y="28"/>
                        </a:lnTo>
                        <a:lnTo>
                          <a:pt x="18" y="18"/>
                        </a:lnTo>
                        <a:lnTo>
                          <a:pt x="28" y="10"/>
                        </a:lnTo>
                        <a:lnTo>
                          <a:pt x="38" y="6"/>
                        </a:lnTo>
                        <a:lnTo>
                          <a:pt x="50" y="2"/>
                        </a:lnTo>
                        <a:lnTo>
                          <a:pt x="64" y="0"/>
                        </a:lnTo>
                        <a:lnTo>
                          <a:pt x="6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0" name="Freeform 43"/>
                  <p:cNvSpPr>
                    <a:spLocks/>
                  </p:cNvSpPr>
                  <p:nvPr/>
                </p:nvSpPr>
                <p:spPr bwMode="auto">
                  <a:xfrm>
                    <a:off x="1814507" y="3300400"/>
                    <a:ext cx="12701" cy="66675"/>
                  </a:xfrm>
                  <a:custGeom>
                    <a:avLst/>
                    <a:gdLst>
                      <a:gd name="T0" fmla="*/ 4 w 8"/>
                      <a:gd name="T1" fmla="*/ 0 h 42"/>
                      <a:gd name="T2" fmla="*/ 4 w 8"/>
                      <a:gd name="T3" fmla="*/ 0 h 42"/>
                      <a:gd name="T4" fmla="*/ 4 w 8"/>
                      <a:gd name="T5" fmla="*/ 0 h 42"/>
                      <a:gd name="T6" fmla="*/ 6 w 8"/>
                      <a:gd name="T7" fmla="*/ 2 h 42"/>
                      <a:gd name="T8" fmla="*/ 8 w 8"/>
                      <a:gd name="T9" fmla="*/ 6 h 42"/>
                      <a:gd name="T10" fmla="*/ 8 w 8"/>
                      <a:gd name="T11" fmla="*/ 38 h 42"/>
                      <a:gd name="T12" fmla="*/ 8 w 8"/>
                      <a:gd name="T13" fmla="*/ 38 h 42"/>
                      <a:gd name="T14" fmla="*/ 6 w 8"/>
                      <a:gd name="T15" fmla="*/ 42 h 42"/>
                      <a:gd name="T16" fmla="*/ 4 w 8"/>
                      <a:gd name="T17" fmla="*/ 42 h 42"/>
                      <a:gd name="T18" fmla="*/ 4 w 8"/>
                      <a:gd name="T19" fmla="*/ 42 h 42"/>
                      <a:gd name="T20" fmla="*/ 4 w 8"/>
                      <a:gd name="T21" fmla="*/ 42 h 42"/>
                      <a:gd name="T22" fmla="*/ 0 w 8"/>
                      <a:gd name="T23" fmla="*/ 42 h 42"/>
                      <a:gd name="T24" fmla="*/ 0 w 8"/>
                      <a:gd name="T25" fmla="*/ 38 h 42"/>
                      <a:gd name="T26" fmla="*/ 0 w 8"/>
                      <a:gd name="T27" fmla="*/ 6 h 42"/>
                      <a:gd name="T28" fmla="*/ 0 w 8"/>
                      <a:gd name="T29" fmla="*/ 6 h 42"/>
                      <a:gd name="T30" fmla="*/ 0 w 8"/>
                      <a:gd name="T31" fmla="*/ 2 h 42"/>
                      <a:gd name="T32" fmla="*/ 4 w 8"/>
                      <a:gd name="T33" fmla="*/ 0 h 42"/>
                      <a:gd name="T34" fmla="*/ 4 w 8"/>
                      <a:gd name="T35" fmla="*/ 0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8" h="42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lnTo>
                          <a:pt x="8" y="6"/>
                        </a:lnTo>
                        <a:lnTo>
                          <a:pt x="8" y="38"/>
                        </a:lnTo>
                        <a:lnTo>
                          <a:pt x="8" y="38"/>
                        </a:lnTo>
                        <a:lnTo>
                          <a:pt x="6" y="42"/>
                        </a:lnTo>
                        <a:lnTo>
                          <a:pt x="4" y="42"/>
                        </a:lnTo>
                        <a:lnTo>
                          <a:pt x="4" y="42"/>
                        </a:lnTo>
                        <a:lnTo>
                          <a:pt x="4" y="42"/>
                        </a:lnTo>
                        <a:lnTo>
                          <a:pt x="0" y="42"/>
                        </a:lnTo>
                        <a:lnTo>
                          <a:pt x="0" y="38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1" name="Freeform 44"/>
                  <p:cNvSpPr>
                    <a:spLocks/>
                  </p:cNvSpPr>
                  <p:nvPr/>
                </p:nvSpPr>
                <p:spPr bwMode="auto">
                  <a:xfrm>
                    <a:off x="1814507" y="3624246"/>
                    <a:ext cx="12701" cy="69850"/>
                  </a:xfrm>
                  <a:custGeom>
                    <a:avLst/>
                    <a:gdLst>
                      <a:gd name="T0" fmla="*/ 4 w 8"/>
                      <a:gd name="T1" fmla="*/ 0 h 44"/>
                      <a:gd name="T2" fmla="*/ 4 w 8"/>
                      <a:gd name="T3" fmla="*/ 0 h 44"/>
                      <a:gd name="T4" fmla="*/ 4 w 8"/>
                      <a:gd name="T5" fmla="*/ 0 h 44"/>
                      <a:gd name="T6" fmla="*/ 6 w 8"/>
                      <a:gd name="T7" fmla="*/ 2 h 44"/>
                      <a:gd name="T8" fmla="*/ 8 w 8"/>
                      <a:gd name="T9" fmla="*/ 6 h 44"/>
                      <a:gd name="T10" fmla="*/ 8 w 8"/>
                      <a:gd name="T11" fmla="*/ 38 h 44"/>
                      <a:gd name="T12" fmla="*/ 8 w 8"/>
                      <a:gd name="T13" fmla="*/ 38 h 44"/>
                      <a:gd name="T14" fmla="*/ 6 w 8"/>
                      <a:gd name="T15" fmla="*/ 42 h 44"/>
                      <a:gd name="T16" fmla="*/ 4 w 8"/>
                      <a:gd name="T17" fmla="*/ 44 h 44"/>
                      <a:gd name="T18" fmla="*/ 4 w 8"/>
                      <a:gd name="T19" fmla="*/ 44 h 44"/>
                      <a:gd name="T20" fmla="*/ 4 w 8"/>
                      <a:gd name="T21" fmla="*/ 44 h 44"/>
                      <a:gd name="T22" fmla="*/ 0 w 8"/>
                      <a:gd name="T23" fmla="*/ 42 h 44"/>
                      <a:gd name="T24" fmla="*/ 0 w 8"/>
                      <a:gd name="T25" fmla="*/ 38 h 44"/>
                      <a:gd name="T26" fmla="*/ 0 w 8"/>
                      <a:gd name="T27" fmla="*/ 6 h 44"/>
                      <a:gd name="T28" fmla="*/ 0 w 8"/>
                      <a:gd name="T29" fmla="*/ 6 h 44"/>
                      <a:gd name="T30" fmla="*/ 0 w 8"/>
                      <a:gd name="T31" fmla="*/ 2 h 44"/>
                      <a:gd name="T32" fmla="*/ 4 w 8"/>
                      <a:gd name="T33" fmla="*/ 0 h 44"/>
                      <a:gd name="T34" fmla="*/ 4 w 8"/>
                      <a:gd name="T35" fmla="*/ 0 h 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8" h="44">
                        <a:moveTo>
                          <a:pt x="4" y="0"/>
                        </a:move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lnTo>
                          <a:pt x="8" y="6"/>
                        </a:lnTo>
                        <a:lnTo>
                          <a:pt x="8" y="38"/>
                        </a:lnTo>
                        <a:lnTo>
                          <a:pt x="8" y="38"/>
                        </a:lnTo>
                        <a:lnTo>
                          <a:pt x="6" y="42"/>
                        </a:lnTo>
                        <a:lnTo>
                          <a:pt x="4" y="44"/>
                        </a:lnTo>
                        <a:lnTo>
                          <a:pt x="4" y="44"/>
                        </a:lnTo>
                        <a:lnTo>
                          <a:pt x="4" y="44"/>
                        </a:lnTo>
                        <a:lnTo>
                          <a:pt x="0" y="42"/>
                        </a:lnTo>
                        <a:lnTo>
                          <a:pt x="0" y="38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2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2" name="Freeform 45"/>
                  <p:cNvSpPr>
                    <a:spLocks/>
                  </p:cNvSpPr>
                  <p:nvPr/>
                </p:nvSpPr>
                <p:spPr bwMode="auto">
                  <a:xfrm>
                    <a:off x="1681157" y="3357549"/>
                    <a:ext cx="50800" cy="50800"/>
                  </a:xfrm>
                  <a:custGeom>
                    <a:avLst/>
                    <a:gdLst>
                      <a:gd name="T0" fmla="*/ 0 w 32"/>
                      <a:gd name="T1" fmla="*/ 0 h 32"/>
                      <a:gd name="T2" fmla="*/ 0 w 32"/>
                      <a:gd name="T3" fmla="*/ 0 h 32"/>
                      <a:gd name="T4" fmla="*/ 0 w 32"/>
                      <a:gd name="T5" fmla="*/ 0 h 32"/>
                      <a:gd name="T6" fmla="*/ 4 w 32"/>
                      <a:gd name="T7" fmla="*/ 0 h 32"/>
                      <a:gd name="T8" fmla="*/ 6 w 32"/>
                      <a:gd name="T9" fmla="*/ 0 h 32"/>
                      <a:gd name="T10" fmla="*/ 30 w 32"/>
                      <a:gd name="T11" fmla="*/ 24 h 32"/>
                      <a:gd name="T12" fmla="*/ 30 w 32"/>
                      <a:gd name="T13" fmla="*/ 24 h 32"/>
                      <a:gd name="T14" fmla="*/ 32 w 32"/>
                      <a:gd name="T15" fmla="*/ 28 h 32"/>
                      <a:gd name="T16" fmla="*/ 30 w 32"/>
                      <a:gd name="T17" fmla="*/ 30 h 32"/>
                      <a:gd name="T18" fmla="*/ 30 w 32"/>
                      <a:gd name="T19" fmla="*/ 30 h 32"/>
                      <a:gd name="T20" fmla="*/ 30 w 32"/>
                      <a:gd name="T21" fmla="*/ 30 h 32"/>
                      <a:gd name="T22" fmla="*/ 28 w 32"/>
                      <a:gd name="T23" fmla="*/ 32 h 32"/>
                      <a:gd name="T24" fmla="*/ 24 w 32"/>
                      <a:gd name="T25" fmla="*/ 30 h 32"/>
                      <a:gd name="T26" fmla="*/ 0 w 32"/>
                      <a:gd name="T27" fmla="*/ 6 h 32"/>
                      <a:gd name="T28" fmla="*/ 0 w 32"/>
                      <a:gd name="T29" fmla="*/ 6 h 32"/>
                      <a:gd name="T30" fmla="*/ 0 w 32"/>
                      <a:gd name="T31" fmla="*/ 4 h 32"/>
                      <a:gd name="T32" fmla="*/ 0 w 32"/>
                      <a:gd name="T33" fmla="*/ 0 h 32"/>
                      <a:gd name="T34" fmla="*/ 0 w 32"/>
                      <a:gd name="T35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" h="3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6" y="0"/>
                        </a:lnTo>
                        <a:lnTo>
                          <a:pt x="30" y="24"/>
                        </a:lnTo>
                        <a:lnTo>
                          <a:pt x="30" y="24"/>
                        </a:lnTo>
                        <a:lnTo>
                          <a:pt x="32" y="28"/>
                        </a:lnTo>
                        <a:lnTo>
                          <a:pt x="30" y="30"/>
                        </a:lnTo>
                        <a:lnTo>
                          <a:pt x="30" y="30"/>
                        </a:lnTo>
                        <a:lnTo>
                          <a:pt x="30" y="30"/>
                        </a:lnTo>
                        <a:lnTo>
                          <a:pt x="28" y="32"/>
                        </a:lnTo>
                        <a:lnTo>
                          <a:pt x="24" y="30"/>
                        </a:lnTo>
                        <a:lnTo>
                          <a:pt x="0" y="6"/>
                        </a:lnTo>
                        <a:lnTo>
                          <a:pt x="0" y="6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3" name="Freeform 46"/>
                  <p:cNvSpPr>
                    <a:spLocks/>
                  </p:cNvSpPr>
                  <p:nvPr/>
                </p:nvSpPr>
                <p:spPr bwMode="auto">
                  <a:xfrm>
                    <a:off x="1909758" y="3586147"/>
                    <a:ext cx="50800" cy="50800"/>
                  </a:xfrm>
                  <a:custGeom>
                    <a:avLst/>
                    <a:gdLst>
                      <a:gd name="T0" fmla="*/ 0 w 32"/>
                      <a:gd name="T1" fmla="*/ 0 h 32"/>
                      <a:gd name="T2" fmla="*/ 0 w 32"/>
                      <a:gd name="T3" fmla="*/ 0 h 32"/>
                      <a:gd name="T4" fmla="*/ 0 w 32"/>
                      <a:gd name="T5" fmla="*/ 0 h 32"/>
                      <a:gd name="T6" fmla="*/ 4 w 32"/>
                      <a:gd name="T7" fmla="*/ 0 h 32"/>
                      <a:gd name="T8" fmla="*/ 6 w 32"/>
                      <a:gd name="T9" fmla="*/ 2 h 32"/>
                      <a:gd name="T10" fmla="*/ 30 w 32"/>
                      <a:gd name="T11" fmla="*/ 24 h 32"/>
                      <a:gd name="T12" fmla="*/ 30 w 32"/>
                      <a:gd name="T13" fmla="*/ 24 h 32"/>
                      <a:gd name="T14" fmla="*/ 32 w 32"/>
                      <a:gd name="T15" fmla="*/ 28 h 32"/>
                      <a:gd name="T16" fmla="*/ 30 w 32"/>
                      <a:gd name="T17" fmla="*/ 30 h 32"/>
                      <a:gd name="T18" fmla="*/ 30 w 32"/>
                      <a:gd name="T19" fmla="*/ 30 h 32"/>
                      <a:gd name="T20" fmla="*/ 30 w 32"/>
                      <a:gd name="T21" fmla="*/ 30 h 32"/>
                      <a:gd name="T22" fmla="*/ 28 w 32"/>
                      <a:gd name="T23" fmla="*/ 32 h 32"/>
                      <a:gd name="T24" fmla="*/ 24 w 32"/>
                      <a:gd name="T25" fmla="*/ 30 h 32"/>
                      <a:gd name="T26" fmla="*/ 0 w 32"/>
                      <a:gd name="T27" fmla="*/ 8 h 32"/>
                      <a:gd name="T28" fmla="*/ 0 w 32"/>
                      <a:gd name="T29" fmla="*/ 8 h 32"/>
                      <a:gd name="T30" fmla="*/ 0 w 32"/>
                      <a:gd name="T31" fmla="*/ 4 h 32"/>
                      <a:gd name="T32" fmla="*/ 0 w 32"/>
                      <a:gd name="T33" fmla="*/ 0 h 32"/>
                      <a:gd name="T34" fmla="*/ 0 w 32"/>
                      <a:gd name="T35" fmla="*/ 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" h="32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" y="0"/>
                        </a:lnTo>
                        <a:lnTo>
                          <a:pt x="6" y="2"/>
                        </a:lnTo>
                        <a:lnTo>
                          <a:pt x="30" y="24"/>
                        </a:lnTo>
                        <a:lnTo>
                          <a:pt x="30" y="24"/>
                        </a:lnTo>
                        <a:lnTo>
                          <a:pt x="32" y="28"/>
                        </a:lnTo>
                        <a:lnTo>
                          <a:pt x="30" y="30"/>
                        </a:lnTo>
                        <a:lnTo>
                          <a:pt x="30" y="30"/>
                        </a:lnTo>
                        <a:lnTo>
                          <a:pt x="30" y="30"/>
                        </a:lnTo>
                        <a:lnTo>
                          <a:pt x="28" y="32"/>
                        </a:lnTo>
                        <a:lnTo>
                          <a:pt x="24" y="30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4" name="Freeform 47"/>
                  <p:cNvSpPr>
                    <a:spLocks/>
                  </p:cNvSpPr>
                  <p:nvPr/>
                </p:nvSpPr>
                <p:spPr bwMode="auto">
                  <a:xfrm>
                    <a:off x="1624008" y="3490899"/>
                    <a:ext cx="66675" cy="12701"/>
                  </a:xfrm>
                  <a:custGeom>
                    <a:avLst/>
                    <a:gdLst>
                      <a:gd name="T0" fmla="*/ 0 w 42"/>
                      <a:gd name="T1" fmla="*/ 4 h 8"/>
                      <a:gd name="T2" fmla="*/ 0 w 42"/>
                      <a:gd name="T3" fmla="*/ 4 h 8"/>
                      <a:gd name="T4" fmla="*/ 0 w 42"/>
                      <a:gd name="T5" fmla="*/ 4 h 8"/>
                      <a:gd name="T6" fmla="*/ 2 w 42"/>
                      <a:gd name="T7" fmla="*/ 0 h 8"/>
                      <a:gd name="T8" fmla="*/ 4 w 42"/>
                      <a:gd name="T9" fmla="*/ 0 h 8"/>
                      <a:gd name="T10" fmla="*/ 38 w 42"/>
                      <a:gd name="T11" fmla="*/ 0 h 8"/>
                      <a:gd name="T12" fmla="*/ 38 w 42"/>
                      <a:gd name="T13" fmla="*/ 0 h 8"/>
                      <a:gd name="T14" fmla="*/ 42 w 42"/>
                      <a:gd name="T15" fmla="*/ 0 h 8"/>
                      <a:gd name="T16" fmla="*/ 42 w 42"/>
                      <a:gd name="T17" fmla="*/ 4 h 8"/>
                      <a:gd name="T18" fmla="*/ 42 w 42"/>
                      <a:gd name="T19" fmla="*/ 4 h 8"/>
                      <a:gd name="T20" fmla="*/ 42 w 42"/>
                      <a:gd name="T21" fmla="*/ 4 h 8"/>
                      <a:gd name="T22" fmla="*/ 42 w 42"/>
                      <a:gd name="T23" fmla="*/ 6 h 8"/>
                      <a:gd name="T24" fmla="*/ 38 w 42"/>
                      <a:gd name="T25" fmla="*/ 8 h 8"/>
                      <a:gd name="T26" fmla="*/ 4 w 42"/>
                      <a:gd name="T27" fmla="*/ 8 h 8"/>
                      <a:gd name="T28" fmla="*/ 4 w 42"/>
                      <a:gd name="T29" fmla="*/ 8 h 8"/>
                      <a:gd name="T30" fmla="*/ 2 w 42"/>
                      <a:gd name="T31" fmla="*/ 6 h 8"/>
                      <a:gd name="T32" fmla="*/ 0 w 42"/>
                      <a:gd name="T33" fmla="*/ 4 h 8"/>
                      <a:gd name="T34" fmla="*/ 0 w 42"/>
                      <a:gd name="T35" fmla="*/ 4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2" h="8">
                        <a:moveTo>
                          <a:pt x="0" y="4"/>
                        </a:move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38" y="0"/>
                        </a:lnTo>
                        <a:lnTo>
                          <a:pt x="38" y="0"/>
                        </a:lnTo>
                        <a:lnTo>
                          <a:pt x="42" y="0"/>
                        </a:lnTo>
                        <a:lnTo>
                          <a:pt x="42" y="4"/>
                        </a:lnTo>
                        <a:lnTo>
                          <a:pt x="42" y="4"/>
                        </a:lnTo>
                        <a:lnTo>
                          <a:pt x="42" y="4"/>
                        </a:lnTo>
                        <a:lnTo>
                          <a:pt x="42" y="6"/>
                        </a:lnTo>
                        <a:lnTo>
                          <a:pt x="38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2" y="6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5" name="Freeform 48"/>
                  <p:cNvSpPr>
                    <a:spLocks/>
                  </p:cNvSpPr>
                  <p:nvPr/>
                </p:nvSpPr>
                <p:spPr bwMode="auto">
                  <a:xfrm>
                    <a:off x="1947858" y="3490899"/>
                    <a:ext cx="66675" cy="12701"/>
                  </a:xfrm>
                  <a:custGeom>
                    <a:avLst/>
                    <a:gdLst>
                      <a:gd name="T0" fmla="*/ 0 w 42"/>
                      <a:gd name="T1" fmla="*/ 4 h 8"/>
                      <a:gd name="T2" fmla="*/ 0 w 42"/>
                      <a:gd name="T3" fmla="*/ 4 h 8"/>
                      <a:gd name="T4" fmla="*/ 0 w 42"/>
                      <a:gd name="T5" fmla="*/ 4 h 8"/>
                      <a:gd name="T6" fmla="*/ 2 w 42"/>
                      <a:gd name="T7" fmla="*/ 0 h 8"/>
                      <a:gd name="T8" fmla="*/ 4 w 42"/>
                      <a:gd name="T9" fmla="*/ 0 h 8"/>
                      <a:gd name="T10" fmla="*/ 38 w 42"/>
                      <a:gd name="T11" fmla="*/ 0 h 8"/>
                      <a:gd name="T12" fmla="*/ 38 w 42"/>
                      <a:gd name="T13" fmla="*/ 0 h 8"/>
                      <a:gd name="T14" fmla="*/ 42 w 42"/>
                      <a:gd name="T15" fmla="*/ 0 h 8"/>
                      <a:gd name="T16" fmla="*/ 42 w 42"/>
                      <a:gd name="T17" fmla="*/ 4 h 8"/>
                      <a:gd name="T18" fmla="*/ 42 w 42"/>
                      <a:gd name="T19" fmla="*/ 4 h 8"/>
                      <a:gd name="T20" fmla="*/ 42 w 42"/>
                      <a:gd name="T21" fmla="*/ 4 h 8"/>
                      <a:gd name="T22" fmla="*/ 42 w 42"/>
                      <a:gd name="T23" fmla="*/ 6 h 8"/>
                      <a:gd name="T24" fmla="*/ 38 w 42"/>
                      <a:gd name="T25" fmla="*/ 8 h 8"/>
                      <a:gd name="T26" fmla="*/ 4 w 42"/>
                      <a:gd name="T27" fmla="*/ 8 h 8"/>
                      <a:gd name="T28" fmla="*/ 4 w 42"/>
                      <a:gd name="T29" fmla="*/ 8 h 8"/>
                      <a:gd name="T30" fmla="*/ 2 w 42"/>
                      <a:gd name="T31" fmla="*/ 6 h 8"/>
                      <a:gd name="T32" fmla="*/ 0 w 42"/>
                      <a:gd name="T33" fmla="*/ 4 h 8"/>
                      <a:gd name="T34" fmla="*/ 0 w 42"/>
                      <a:gd name="T35" fmla="*/ 4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42" h="8">
                        <a:moveTo>
                          <a:pt x="0" y="4"/>
                        </a:move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38" y="0"/>
                        </a:lnTo>
                        <a:lnTo>
                          <a:pt x="38" y="0"/>
                        </a:lnTo>
                        <a:lnTo>
                          <a:pt x="42" y="0"/>
                        </a:lnTo>
                        <a:lnTo>
                          <a:pt x="42" y="4"/>
                        </a:lnTo>
                        <a:lnTo>
                          <a:pt x="42" y="4"/>
                        </a:lnTo>
                        <a:lnTo>
                          <a:pt x="42" y="4"/>
                        </a:lnTo>
                        <a:lnTo>
                          <a:pt x="42" y="6"/>
                        </a:lnTo>
                        <a:lnTo>
                          <a:pt x="38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2" y="6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6" name="Freeform 49"/>
                  <p:cNvSpPr>
                    <a:spLocks/>
                  </p:cNvSpPr>
                  <p:nvPr/>
                </p:nvSpPr>
                <p:spPr bwMode="auto">
                  <a:xfrm>
                    <a:off x="1681157" y="3586150"/>
                    <a:ext cx="50800" cy="50800"/>
                  </a:xfrm>
                  <a:custGeom>
                    <a:avLst/>
                    <a:gdLst>
                      <a:gd name="T0" fmla="*/ 0 w 32"/>
                      <a:gd name="T1" fmla="*/ 30 h 32"/>
                      <a:gd name="T2" fmla="*/ 0 w 32"/>
                      <a:gd name="T3" fmla="*/ 30 h 32"/>
                      <a:gd name="T4" fmla="*/ 0 w 32"/>
                      <a:gd name="T5" fmla="*/ 30 h 32"/>
                      <a:gd name="T6" fmla="*/ 0 w 32"/>
                      <a:gd name="T7" fmla="*/ 28 h 32"/>
                      <a:gd name="T8" fmla="*/ 0 w 32"/>
                      <a:gd name="T9" fmla="*/ 24 h 32"/>
                      <a:gd name="T10" fmla="*/ 24 w 32"/>
                      <a:gd name="T11" fmla="*/ 2 h 32"/>
                      <a:gd name="T12" fmla="*/ 24 w 32"/>
                      <a:gd name="T13" fmla="*/ 2 h 32"/>
                      <a:gd name="T14" fmla="*/ 28 w 32"/>
                      <a:gd name="T15" fmla="*/ 0 h 32"/>
                      <a:gd name="T16" fmla="*/ 30 w 32"/>
                      <a:gd name="T17" fmla="*/ 0 h 32"/>
                      <a:gd name="T18" fmla="*/ 30 w 32"/>
                      <a:gd name="T19" fmla="*/ 0 h 32"/>
                      <a:gd name="T20" fmla="*/ 30 w 32"/>
                      <a:gd name="T21" fmla="*/ 0 h 32"/>
                      <a:gd name="T22" fmla="*/ 32 w 32"/>
                      <a:gd name="T23" fmla="*/ 4 h 32"/>
                      <a:gd name="T24" fmla="*/ 30 w 32"/>
                      <a:gd name="T25" fmla="*/ 8 h 32"/>
                      <a:gd name="T26" fmla="*/ 6 w 32"/>
                      <a:gd name="T27" fmla="*/ 30 h 32"/>
                      <a:gd name="T28" fmla="*/ 6 w 32"/>
                      <a:gd name="T29" fmla="*/ 30 h 32"/>
                      <a:gd name="T30" fmla="*/ 4 w 32"/>
                      <a:gd name="T31" fmla="*/ 32 h 32"/>
                      <a:gd name="T32" fmla="*/ 0 w 32"/>
                      <a:gd name="T33" fmla="*/ 30 h 32"/>
                      <a:gd name="T34" fmla="*/ 0 w 32"/>
                      <a:gd name="T35" fmla="*/ 3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" h="32">
                        <a:moveTo>
                          <a:pt x="0" y="30"/>
                        </a:move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0" y="28"/>
                        </a:lnTo>
                        <a:lnTo>
                          <a:pt x="0" y="24"/>
                        </a:lnTo>
                        <a:lnTo>
                          <a:pt x="24" y="2"/>
                        </a:lnTo>
                        <a:lnTo>
                          <a:pt x="24" y="2"/>
                        </a:lnTo>
                        <a:lnTo>
                          <a:pt x="28" y="0"/>
                        </a:lnTo>
                        <a:lnTo>
                          <a:pt x="30" y="0"/>
                        </a:lnTo>
                        <a:lnTo>
                          <a:pt x="30" y="0"/>
                        </a:lnTo>
                        <a:lnTo>
                          <a:pt x="30" y="0"/>
                        </a:lnTo>
                        <a:lnTo>
                          <a:pt x="32" y="4"/>
                        </a:lnTo>
                        <a:lnTo>
                          <a:pt x="30" y="8"/>
                        </a:lnTo>
                        <a:lnTo>
                          <a:pt x="6" y="30"/>
                        </a:lnTo>
                        <a:lnTo>
                          <a:pt x="6" y="30"/>
                        </a:lnTo>
                        <a:lnTo>
                          <a:pt x="4" y="32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sp>
                <p:nvSpPr>
                  <p:cNvPr id="567" name="Freeform 50"/>
                  <p:cNvSpPr>
                    <a:spLocks/>
                  </p:cNvSpPr>
                  <p:nvPr/>
                </p:nvSpPr>
                <p:spPr bwMode="auto">
                  <a:xfrm>
                    <a:off x="1909764" y="3357563"/>
                    <a:ext cx="50800" cy="50800"/>
                  </a:xfrm>
                  <a:custGeom>
                    <a:avLst/>
                    <a:gdLst>
                      <a:gd name="T0" fmla="*/ 0 w 32"/>
                      <a:gd name="T1" fmla="*/ 30 h 32"/>
                      <a:gd name="T2" fmla="*/ 0 w 32"/>
                      <a:gd name="T3" fmla="*/ 30 h 32"/>
                      <a:gd name="T4" fmla="*/ 0 w 32"/>
                      <a:gd name="T5" fmla="*/ 30 h 32"/>
                      <a:gd name="T6" fmla="*/ 0 w 32"/>
                      <a:gd name="T7" fmla="*/ 28 h 32"/>
                      <a:gd name="T8" fmla="*/ 0 w 32"/>
                      <a:gd name="T9" fmla="*/ 24 h 32"/>
                      <a:gd name="T10" fmla="*/ 24 w 32"/>
                      <a:gd name="T11" fmla="*/ 0 h 32"/>
                      <a:gd name="T12" fmla="*/ 24 w 32"/>
                      <a:gd name="T13" fmla="*/ 0 h 32"/>
                      <a:gd name="T14" fmla="*/ 28 w 32"/>
                      <a:gd name="T15" fmla="*/ 0 h 32"/>
                      <a:gd name="T16" fmla="*/ 30 w 32"/>
                      <a:gd name="T17" fmla="*/ 0 h 32"/>
                      <a:gd name="T18" fmla="*/ 30 w 32"/>
                      <a:gd name="T19" fmla="*/ 0 h 32"/>
                      <a:gd name="T20" fmla="*/ 30 w 32"/>
                      <a:gd name="T21" fmla="*/ 0 h 32"/>
                      <a:gd name="T22" fmla="*/ 32 w 32"/>
                      <a:gd name="T23" fmla="*/ 4 h 32"/>
                      <a:gd name="T24" fmla="*/ 30 w 32"/>
                      <a:gd name="T25" fmla="*/ 6 h 32"/>
                      <a:gd name="T26" fmla="*/ 6 w 32"/>
                      <a:gd name="T27" fmla="*/ 30 h 32"/>
                      <a:gd name="T28" fmla="*/ 6 w 32"/>
                      <a:gd name="T29" fmla="*/ 30 h 32"/>
                      <a:gd name="T30" fmla="*/ 4 w 32"/>
                      <a:gd name="T31" fmla="*/ 32 h 32"/>
                      <a:gd name="T32" fmla="*/ 0 w 32"/>
                      <a:gd name="T33" fmla="*/ 30 h 32"/>
                      <a:gd name="T34" fmla="*/ 0 w 32"/>
                      <a:gd name="T35" fmla="*/ 30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" h="32">
                        <a:moveTo>
                          <a:pt x="0" y="30"/>
                        </a:moveTo>
                        <a:lnTo>
                          <a:pt x="0" y="30"/>
                        </a:lnTo>
                        <a:lnTo>
                          <a:pt x="0" y="30"/>
                        </a:lnTo>
                        <a:lnTo>
                          <a:pt x="0" y="28"/>
                        </a:lnTo>
                        <a:lnTo>
                          <a:pt x="0" y="24"/>
                        </a:lnTo>
                        <a:lnTo>
                          <a:pt x="24" y="0"/>
                        </a:lnTo>
                        <a:lnTo>
                          <a:pt x="24" y="0"/>
                        </a:lnTo>
                        <a:lnTo>
                          <a:pt x="28" y="0"/>
                        </a:lnTo>
                        <a:lnTo>
                          <a:pt x="30" y="0"/>
                        </a:lnTo>
                        <a:lnTo>
                          <a:pt x="30" y="0"/>
                        </a:lnTo>
                        <a:lnTo>
                          <a:pt x="30" y="0"/>
                        </a:lnTo>
                        <a:lnTo>
                          <a:pt x="32" y="4"/>
                        </a:lnTo>
                        <a:lnTo>
                          <a:pt x="30" y="6"/>
                        </a:lnTo>
                        <a:lnTo>
                          <a:pt x="6" y="30"/>
                        </a:lnTo>
                        <a:lnTo>
                          <a:pt x="6" y="30"/>
                        </a:lnTo>
                        <a:lnTo>
                          <a:pt x="4" y="32"/>
                        </a:lnTo>
                        <a:lnTo>
                          <a:pt x="0" y="30"/>
                        </a:lnTo>
                        <a:lnTo>
                          <a:pt x="0" y="3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</p:grpSp>
          </p:grp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7840663" y="2931030"/>
                <a:ext cx="2647718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119386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258246" lvl="1" indent="-256130" defTabSz="1193860" eaLnBrk="1" hangingPunct="1">
                  <a:buClr>
                    <a:schemeClr val="accent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609630" lvl="2" indent="-349268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819192" lvl="3" indent="-207444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999794" lvl="4" indent="-173575" defTabSz="1193860" eaLnBrk="1" hangingPunct="1">
                  <a:buClr>
                    <a:schemeClr val="accent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accent2"/>
                    </a:solidFill>
                  </a:rPr>
                  <a:t>More aggressive renewables uptake </a:t>
                </a:r>
                <a:endParaRPr lang="en-US" dirty="0"/>
              </a:p>
            </p:txBody>
          </p:sp>
          <p:sp>
            <p:nvSpPr>
              <p:cNvPr id="470" name="Freeform 184"/>
              <p:cNvSpPr>
                <a:spLocks/>
              </p:cNvSpPr>
              <p:nvPr/>
            </p:nvSpPr>
            <p:spPr bwMode="auto">
              <a:xfrm>
                <a:off x="10556532" y="2973751"/>
                <a:ext cx="429014" cy="407000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477838">
                    <a:moveTo>
                      <a:pt x="181499" y="293675"/>
                    </a:moveTo>
                    <a:cubicBezTo>
                      <a:pt x="181564" y="293705"/>
                      <a:pt x="224625" y="313375"/>
                      <a:pt x="242176" y="321885"/>
                    </a:cubicBezTo>
                    <a:cubicBezTo>
                      <a:pt x="208777" y="373648"/>
                      <a:pt x="184693" y="425144"/>
                      <a:pt x="184693" y="425144"/>
                    </a:cubicBezTo>
                    <a:cubicBezTo>
                      <a:pt x="164733" y="437652"/>
                      <a:pt x="123616" y="465862"/>
                      <a:pt x="112971" y="477838"/>
                    </a:cubicBezTo>
                    <a:cubicBezTo>
                      <a:pt x="108447" y="458677"/>
                      <a:pt x="92346" y="419555"/>
                      <a:pt x="66798" y="364466"/>
                    </a:cubicBezTo>
                    <a:cubicBezTo>
                      <a:pt x="98600" y="341446"/>
                      <a:pt x="130403" y="318425"/>
                      <a:pt x="130403" y="318425"/>
                    </a:cubicBezTo>
                    <a:cubicBezTo>
                      <a:pt x="130423" y="318471"/>
                      <a:pt x="137731" y="334682"/>
                      <a:pt x="145040" y="350894"/>
                    </a:cubicBezTo>
                    <a:cubicBezTo>
                      <a:pt x="162338" y="320821"/>
                      <a:pt x="181499" y="293675"/>
                      <a:pt x="181499" y="293675"/>
                    </a:cubicBezTo>
                    <a:close/>
                    <a:moveTo>
                      <a:pt x="73451" y="249498"/>
                    </a:moveTo>
                    <a:cubicBezTo>
                      <a:pt x="87289" y="250297"/>
                      <a:pt x="100197" y="265865"/>
                      <a:pt x="109644" y="279837"/>
                    </a:cubicBezTo>
                    <a:cubicBezTo>
                      <a:pt x="77310" y="303257"/>
                      <a:pt x="44709" y="326809"/>
                      <a:pt x="44709" y="326809"/>
                    </a:cubicBezTo>
                    <a:cubicBezTo>
                      <a:pt x="44685" y="326770"/>
                      <a:pt x="28587" y="300853"/>
                      <a:pt x="0" y="290615"/>
                    </a:cubicBezTo>
                    <a:cubicBezTo>
                      <a:pt x="21024" y="269724"/>
                      <a:pt x="47104" y="247502"/>
                      <a:pt x="73451" y="249498"/>
                    </a:cubicBezTo>
                    <a:close/>
                    <a:moveTo>
                      <a:pt x="267724" y="185493"/>
                    </a:moveTo>
                    <a:cubicBezTo>
                      <a:pt x="294070" y="197469"/>
                      <a:pt x="320417" y="209977"/>
                      <a:pt x="320417" y="209977"/>
                    </a:cubicBezTo>
                    <a:cubicBezTo>
                      <a:pt x="292873" y="245771"/>
                      <a:pt x="265861" y="285026"/>
                      <a:pt x="265861" y="285026"/>
                    </a:cubicBezTo>
                    <a:cubicBezTo>
                      <a:pt x="265818" y="285007"/>
                      <a:pt x="236699" y="271444"/>
                      <a:pt x="207579" y="257881"/>
                    </a:cubicBezTo>
                    <a:cubicBezTo>
                      <a:pt x="223946" y="234328"/>
                      <a:pt x="263067" y="190682"/>
                      <a:pt x="267724" y="185493"/>
                    </a:cubicBezTo>
                    <a:close/>
                    <a:moveTo>
                      <a:pt x="358873" y="95408"/>
                    </a:moveTo>
                    <a:cubicBezTo>
                      <a:pt x="379098" y="104722"/>
                      <a:pt x="399457" y="114170"/>
                      <a:pt x="399457" y="114170"/>
                    </a:cubicBezTo>
                    <a:cubicBezTo>
                      <a:pt x="373510" y="143311"/>
                      <a:pt x="347961" y="174715"/>
                      <a:pt x="347961" y="174715"/>
                    </a:cubicBezTo>
                    <a:cubicBezTo>
                      <a:pt x="323611" y="163537"/>
                      <a:pt x="299393" y="152360"/>
                      <a:pt x="299393" y="152360"/>
                    </a:cubicBezTo>
                    <a:cubicBezTo>
                      <a:pt x="299430" y="152321"/>
                      <a:pt x="328155" y="122536"/>
                      <a:pt x="358873" y="95408"/>
                    </a:cubicBezTo>
                    <a:close/>
                    <a:moveTo>
                      <a:pt x="489275" y="0"/>
                    </a:moveTo>
                    <a:cubicBezTo>
                      <a:pt x="495396" y="8915"/>
                      <a:pt x="501650" y="17964"/>
                      <a:pt x="501650" y="17964"/>
                    </a:cubicBezTo>
                    <a:cubicBezTo>
                      <a:pt x="468916" y="42182"/>
                      <a:pt x="430993" y="81037"/>
                      <a:pt x="430993" y="81037"/>
                    </a:cubicBezTo>
                    <a:lnTo>
                      <a:pt x="395066" y="64537"/>
                    </a:lnTo>
                    <a:cubicBezTo>
                      <a:pt x="395092" y="64516"/>
                      <a:pt x="440587" y="27005"/>
                      <a:pt x="4892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17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b="1">
                  <a:latin typeface="+mn-lt"/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10135845" y="869596"/>
            <a:ext cx="1309141" cy="534988"/>
            <a:chOff x="10135845" y="2169374"/>
            <a:chExt cx="1309141" cy="534988"/>
          </a:xfrm>
        </p:grpSpPr>
        <p:sp>
          <p:nvSpPr>
            <p:cNvPr id="389" name="TextBox 388"/>
            <p:cNvSpPr txBox="1">
              <a:spLocks/>
            </p:cNvSpPr>
            <p:nvPr/>
          </p:nvSpPr>
          <p:spPr>
            <a:xfrm>
              <a:off x="10135845" y="2169374"/>
              <a:ext cx="1309141" cy="492443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lvl="0" indent="0" defTabSz="895395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00000"/>
                <a:defRPr lang="x-none" b="0" baseline="0">
                  <a:solidFill>
                    <a:schemeClr val="accent6"/>
                  </a:solidFill>
                  <a:latin typeface="+mn-lt"/>
                </a:defRPr>
              </a:lvl1pPr>
              <a:lvl2pPr marL="171450" lvl="1" indent="-171450" defTabSz="895395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tabLst/>
                <a:defRPr lang="x-none" b="0" baseline="0">
                  <a:solidFill>
                    <a:schemeClr val="accent6"/>
                  </a:solidFill>
                  <a:latin typeface="+mn-lt"/>
                </a:defRPr>
              </a:lvl2pPr>
              <a:lvl3pPr marL="384175" lvl="2" indent="-212725" defTabSz="895395" eaLnBrk="1" latinLnBrk="0" hangingPunct="1"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–"/>
                <a:defRPr lang="x-none" b="0" baseline="0">
                  <a:solidFill>
                    <a:schemeClr val="accent6"/>
                  </a:solidFill>
                  <a:latin typeface="+mn-lt"/>
                </a:defRPr>
              </a:lvl3pPr>
              <a:lvl4pPr marL="527050" lvl="3" indent="-149225" defTabSz="895395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ct val="120000"/>
                <a:buFont typeface="Arial" panose="020B0604020202020204" pitchFamily="34" charset="0"/>
                <a:buChar char="▫"/>
                <a:defRPr lang="x-none" b="0" baseline="0">
                  <a:solidFill>
                    <a:schemeClr val="accent6"/>
                  </a:solidFill>
                  <a:latin typeface="+mn-lt"/>
                </a:defRPr>
              </a:lvl4pPr>
              <a:lvl5pPr marL="692150" lvl="4" indent="-158750" defTabSz="895395" eaLnBrk="1" latinLnBrk="0" hangingPunct="1">
                <a:spcBef>
                  <a:spcPts val="0"/>
                </a:spcBef>
                <a:spcAft>
                  <a:spcPts val="0"/>
                </a:spcAft>
                <a:buClr>
                  <a:schemeClr val="accent6"/>
                </a:buClr>
                <a:buSzPct val="89000"/>
                <a:buFont typeface="Arial" panose="020B0604020202020204" pitchFamily="34" charset="0"/>
                <a:buChar char="-"/>
                <a:tabLst/>
                <a:defRPr lang="x-none" b="0" baseline="0">
                  <a:solidFill>
                    <a:schemeClr val="accent6"/>
                  </a:solidFill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2"/>
                  </a:solidFill>
                </a:rPr>
                <a:t>What clients believe</a:t>
              </a:r>
            </a:p>
          </p:txBody>
        </p:sp>
        <p:cxnSp>
          <p:nvCxnSpPr>
            <p:cNvPr id="392" name="Straight Connector 391"/>
            <p:cNvCxnSpPr>
              <a:cxnSpLocks/>
            </p:cNvCxnSpPr>
            <p:nvPr/>
          </p:nvCxnSpPr>
          <p:spPr>
            <a:xfrm>
              <a:off x="10135845" y="2704362"/>
              <a:ext cx="1309141" cy="0"/>
            </a:xfrm>
            <a:prstGeom prst="line">
              <a:avLst/>
            </a:prstGeom>
            <a:ln w="31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/>
          <p:cNvGrpSpPr/>
          <p:nvPr/>
        </p:nvGrpSpPr>
        <p:grpSpPr>
          <a:xfrm>
            <a:off x="5467350" y="3427543"/>
            <a:ext cx="5391906" cy="1359019"/>
            <a:chOff x="5467350" y="3427543"/>
            <a:chExt cx="5391906" cy="1359019"/>
          </a:xfrm>
        </p:grpSpPr>
        <p:sp>
          <p:nvSpPr>
            <p:cNvPr id="477" name="Freeform 476"/>
            <p:cNvSpPr/>
            <p:nvPr/>
          </p:nvSpPr>
          <p:spPr>
            <a:xfrm>
              <a:off x="5467350" y="3965801"/>
              <a:ext cx="1487846" cy="820761"/>
            </a:xfrm>
            <a:custGeom>
              <a:avLst/>
              <a:gdLst>
                <a:gd name="connsiteX0" fmla="*/ 634314 w 634314"/>
                <a:gd name="connsiteY0" fmla="*/ 0 h 1960606"/>
                <a:gd name="connsiteX1" fmla="*/ 420130 w 634314"/>
                <a:gd name="connsiteY1" fmla="*/ 0 h 1960606"/>
                <a:gd name="connsiteX2" fmla="*/ 420130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420130 w 634314"/>
                <a:gd name="connsiteY1" fmla="*/ 0 h 1960606"/>
                <a:gd name="connsiteX2" fmla="*/ 515249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510372 w 634314"/>
                <a:gd name="connsiteY1" fmla="*/ 7492 h 1960606"/>
                <a:gd name="connsiteX2" fmla="*/ 515249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522567 w 634314"/>
                <a:gd name="connsiteY1" fmla="*/ 14985 h 1960606"/>
                <a:gd name="connsiteX2" fmla="*/ 515249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2 h 1960608"/>
                <a:gd name="connsiteX1" fmla="*/ 512811 w 634314"/>
                <a:gd name="connsiteY1" fmla="*/ 0 h 1960608"/>
                <a:gd name="connsiteX2" fmla="*/ 515249 w 634314"/>
                <a:gd name="connsiteY2" fmla="*/ 1960608 h 1960608"/>
                <a:gd name="connsiteX3" fmla="*/ 0 w 634314"/>
                <a:gd name="connsiteY3" fmla="*/ 1960608 h 1960608"/>
                <a:gd name="connsiteX0" fmla="*/ 305054 w 305054"/>
                <a:gd name="connsiteY0" fmla="*/ 2 h 1960608"/>
                <a:gd name="connsiteX1" fmla="*/ 183551 w 305054"/>
                <a:gd name="connsiteY1" fmla="*/ 0 h 1960608"/>
                <a:gd name="connsiteX2" fmla="*/ 185989 w 305054"/>
                <a:gd name="connsiteY2" fmla="*/ 1960608 h 1960608"/>
                <a:gd name="connsiteX3" fmla="*/ 0 w 305054"/>
                <a:gd name="connsiteY3" fmla="*/ 1960608 h 1960608"/>
                <a:gd name="connsiteX0" fmla="*/ 766831 w 766831"/>
                <a:gd name="connsiteY0" fmla="*/ 2 h 1980483"/>
                <a:gd name="connsiteX1" fmla="*/ 645328 w 766831"/>
                <a:gd name="connsiteY1" fmla="*/ 0 h 1980483"/>
                <a:gd name="connsiteX2" fmla="*/ 647766 w 766831"/>
                <a:gd name="connsiteY2" fmla="*/ 1960608 h 1980483"/>
                <a:gd name="connsiteX3" fmla="*/ 0 w 766831"/>
                <a:gd name="connsiteY3" fmla="*/ 1980483 h 1980483"/>
                <a:gd name="connsiteX0" fmla="*/ 761953 w 761953"/>
                <a:gd name="connsiteY0" fmla="*/ 2 h 1972533"/>
                <a:gd name="connsiteX1" fmla="*/ 640450 w 761953"/>
                <a:gd name="connsiteY1" fmla="*/ 0 h 1972533"/>
                <a:gd name="connsiteX2" fmla="*/ 642888 w 761953"/>
                <a:gd name="connsiteY2" fmla="*/ 1960608 h 1972533"/>
                <a:gd name="connsiteX3" fmla="*/ 0 w 761953"/>
                <a:gd name="connsiteY3" fmla="*/ 1972533 h 19725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1953" h="1972533">
                  <a:moveTo>
                    <a:pt x="761953" y="2"/>
                  </a:moveTo>
                  <a:lnTo>
                    <a:pt x="640450" y="0"/>
                  </a:lnTo>
                  <a:cubicBezTo>
                    <a:pt x="642076" y="651038"/>
                    <a:pt x="641262" y="1309570"/>
                    <a:pt x="642888" y="1960608"/>
                  </a:cubicBezTo>
                  <a:lnTo>
                    <a:pt x="0" y="1972533"/>
                  </a:lnTo>
                </a:path>
              </a:pathLst>
            </a:custGeom>
            <a:noFill/>
            <a:ln w="9525">
              <a:solidFill>
                <a:schemeClr val="accent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6905625" y="3427543"/>
              <a:ext cx="3953631" cy="814127"/>
              <a:chOff x="6905625" y="3978275"/>
              <a:chExt cx="3953631" cy="814127"/>
            </a:xfrm>
          </p:grpSpPr>
          <p:grpSp>
            <p:nvGrpSpPr>
              <p:cNvPr id="27" name="Group 26"/>
              <p:cNvGrpSpPr>
                <a:grpSpLocks/>
              </p:cNvGrpSpPr>
              <p:nvPr/>
            </p:nvGrpSpPr>
            <p:grpSpPr>
              <a:xfrm>
                <a:off x="6905625" y="3978275"/>
                <a:ext cx="814129" cy="814127"/>
                <a:chOff x="6093179" y="4368413"/>
                <a:chExt cx="581490" cy="581489"/>
              </a:xfrm>
            </p:grpSpPr>
            <p:sp>
              <p:nvSpPr>
                <p:cNvPr id="479" name="Oval 18"/>
                <p:cNvSpPr>
                  <a:spLocks noChangeArrowheads="1"/>
                </p:cNvSpPr>
                <p:nvPr>
                  <p:custDataLst>
                    <p:tags r:id="rId45"/>
                  </p:custDataLst>
                </p:nvPr>
              </p:nvSpPr>
              <p:spPr bwMode="auto">
                <a:xfrm>
                  <a:off x="6093179" y="4368413"/>
                  <a:ext cx="581490" cy="5814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ffectLst/>
                <a:extLst/>
              </p:spPr>
              <p:txBody>
                <a:bodyPr wrap="none" anchor="ctr">
                  <a:noAutofit/>
                </a:bodyPr>
                <a:lstStyle>
                  <a:lvl1pPr defTabSz="895350">
                    <a:buClr>
                      <a:schemeClr val="tx2"/>
                    </a:buClr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193675" indent="-192088" defTabSz="895350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457200" indent="-261938" defTabSz="895350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614363" indent="-155575" defTabSz="895350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746125" indent="-130175" defTabSz="895350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12033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16605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21177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2574925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endParaRPr lang="en-US">
                    <a:latin typeface="+mn-lt"/>
                  </a:endParaRPr>
                </a:p>
              </p:txBody>
            </p:sp>
            <p:grpSp>
              <p:nvGrpSpPr>
                <p:cNvPr id="39" name="Group 38"/>
                <p:cNvGrpSpPr/>
                <p:nvPr/>
              </p:nvGrpSpPr>
              <p:grpSpPr>
                <a:xfrm>
                  <a:off x="6194805" y="4469774"/>
                  <a:ext cx="430747" cy="378767"/>
                  <a:chOff x="4787785" y="4615857"/>
                  <a:chExt cx="413939" cy="363988"/>
                </a:xfrm>
              </p:grpSpPr>
              <p:sp>
                <p:nvSpPr>
                  <p:cNvPr id="508" name="Freeform 194"/>
                  <p:cNvSpPr>
                    <a:spLocks noEditPoints="1"/>
                  </p:cNvSpPr>
                  <p:nvPr/>
                </p:nvSpPr>
                <p:spPr bwMode="auto">
                  <a:xfrm>
                    <a:off x="4787785" y="4615857"/>
                    <a:ext cx="193084" cy="363988"/>
                  </a:xfrm>
                  <a:custGeom>
                    <a:avLst/>
                    <a:gdLst>
                      <a:gd name="T0" fmla="*/ 921 w 4438"/>
                      <a:gd name="T1" fmla="*/ 7702 h 8366"/>
                      <a:gd name="T2" fmla="*/ 528 w 4438"/>
                      <a:gd name="T3" fmla="*/ 5792 h 8366"/>
                      <a:gd name="T4" fmla="*/ 1450 w 4438"/>
                      <a:gd name="T5" fmla="*/ 4755 h 8366"/>
                      <a:gd name="T6" fmla="*/ 1477 w 4438"/>
                      <a:gd name="T7" fmla="*/ 628 h 8366"/>
                      <a:gd name="T8" fmla="*/ 2481 w 4438"/>
                      <a:gd name="T9" fmla="*/ 40 h 8366"/>
                      <a:gd name="T10" fmla="*/ 3100 w 4438"/>
                      <a:gd name="T11" fmla="*/ 2748 h 8366"/>
                      <a:gd name="T12" fmla="*/ 3238 w 4438"/>
                      <a:gd name="T13" fmla="*/ 4838 h 8366"/>
                      <a:gd name="T14" fmla="*/ 1975 w 4438"/>
                      <a:gd name="T15" fmla="*/ 8265 h 8366"/>
                      <a:gd name="T16" fmla="*/ 3717 w 4438"/>
                      <a:gd name="T17" fmla="*/ 6425 h 8366"/>
                      <a:gd name="T18" fmla="*/ 2683 w 4438"/>
                      <a:gd name="T19" fmla="*/ 5026 h 8366"/>
                      <a:gd name="T20" fmla="*/ 2571 w 4438"/>
                      <a:gd name="T21" fmla="*/ 556 h 8366"/>
                      <a:gd name="T22" fmla="*/ 1859 w 4438"/>
                      <a:gd name="T23" fmla="*/ 733 h 8366"/>
                      <a:gd name="T24" fmla="*/ 1858 w 4438"/>
                      <a:gd name="T25" fmla="*/ 5029 h 8366"/>
                      <a:gd name="T26" fmla="*/ 875 w 4438"/>
                      <a:gd name="T27" fmla="*/ 6063 h 8366"/>
                      <a:gd name="T28" fmla="*/ 1792 w 4438"/>
                      <a:gd name="T29" fmla="*/ 7795 h 8366"/>
                      <a:gd name="T30" fmla="*/ 2042 w 4438"/>
                      <a:gd name="T31" fmla="*/ 7542 h 8366"/>
                      <a:gd name="T32" fmla="*/ 1158 w 4438"/>
                      <a:gd name="T33" fmla="*/ 6217 h 8366"/>
                      <a:gd name="T34" fmla="*/ 2067 w 4438"/>
                      <a:gd name="T35" fmla="*/ 5307 h 8366"/>
                      <a:gd name="T36" fmla="*/ 2067 w 4438"/>
                      <a:gd name="T37" fmla="*/ 2707 h 8366"/>
                      <a:gd name="T38" fmla="*/ 2475 w 4438"/>
                      <a:gd name="T39" fmla="*/ 2717 h 8366"/>
                      <a:gd name="T40" fmla="*/ 2492 w 4438"/>
                      <a:gd name="T41" fmla="*/ 5314 h 8366"/>
                      <a:gd name="T42" fmla="*/ 3269 w 4438"/>
                      <a:gd name="T43" fmla="*/ 5883 h 8366"/>
                      <a:gd name="T44" fmla="*/ 3270 w 4438"/>
                      <a:gd name="T45" fmla="*/ 6967 h 8366"/>
                      <a:gd name="T46" fmla="*/ 2317 w 4438"/>
                      <a:gd name="T47" fmla="*/ 7550 h 8366"/>
                      <a:gd name="T48" fmla="*/ 0 w 4438"/>
                      <a:gd name="T49" fmla="*/ 4458 h 8366"/>
                      <a:gd name="T50" fmla="*/ 617 w 4438"/>
                      <a:gd name="T51" fmla="*/ 4358 h 8366"/>
                      <a:gd name="T52" fmla="*/ 1233 w 4438"/>
                      <a:gd name="T53" fmla="*/ 4458 h 8366"/>
                      <a:gd name="T54" fmla="*/ 617 w 4438"/>
                      <a:gd name="T55" fmla="*/ 4558 h 8366"/>
                      <a:gd name="T56" fmla="*/ 0 w 4438"/>
                      <a:gd name="T57" fmla="*/ 4458 h 8366"/>
                      <a:gd name="T58" fmla="*/ 425 w 4438"/>
                      <a:gd name="T59" fmla="*/ 3739 h 8366"/>
                      <a:gd name="T60" fmla="*/ 1227 w 4438"/>
                      <a:gd name="T61" fmla="*/ 3746 h 8366"/>
                      <a:gd name="T62" fmla="*/ 1240 w 4438"/>
                      <a:gd name="T63" fmla="*/ 3933 h 8366"/>
                      <a:gd name="T64" fmla="*/ 415 w 4438"/>
                      <a:gd name="T65" fmla="*/ 3942 h 8366"/>
                      <a:gd name="T66" fmla="*/ 0 w 4438"/>
                      <a:gd name="T67" fmla="*/ 3218 h 8366"/>
                      <a:gd name="T68" fmla="*/ 613 w 4438"/>
                      <a:gd name="T69" fmla="*/ 3114 h 8366"/>
                      <a:gd name="T70" fmla="*/ 1225 w 4438"/>
                      <a:gd name="T71" fmla="*/ 3217 h 8366"/>
                      <a:gd name="T72" fmla="*/ 613 w 4438"/>
                      <a:gd name="T73" fmla="*/ 3321 h 8366"/>
                      <a:gd name="T74" fmla="*/ 0 w 4438"/>
                      <a:gd name="T75" fmla="*/ 3218 h 8366"/>
                      <a:gd name="T76" fmla="*/ 425 w 4438"/>
                      <a:gd name="T77" fmla="*/ 2500 h 8366"/>
                      <a:gd name="T78" fmla="*/ 1233 w 4438"/>
                      <a:gd name="T79" fmla="*/ 2491 h 8366"/>
                      <a:gd name="T80" fmla="*/ 1233 w 4438"/>
                      <a:gd name="T81" fmla="*/ 2692 h 8366"/>
                      <a:gd name="T82" fmla="*/ 415 w 4438"/>
                      <a:gd name="T83" fmla="*/ 2692 h 8366"/>
                      <a:gd name="T84" fmla="*/ 0 w 4438"/>
                      <a:gd name="T85" fmla="*/ 1975 h 8366"/>
                      <a:gd name="T86" fmla="*/ 617 w 4438"/>
                      <a:gd name="T87" fmla="*/ 1875 h 8366"/>
                      <a:gd name="T88" fmla="*/ 1233 w 4438"/>
                      <a:gd name="T89" fmla="*/ 1975 h 8366"/>
                      <a:gd name="T90" fmla="*/ 617 w 4438"/>
                      <a:gd name="T91" fmla="*/ 2075 h 8366"/>
                      <a:gd name="T92" fmla="*/ 0 w 4438"/>
                      <a:gd name="T93" fmla="*/ 1975 h 8366"/>
                      <a:gd name="T94" fmla="*/ 417 w 4438"/>
                      <a:gd name="T95" fmla="*/ 1258 h 8366"/>
                      <a:gd name="T96" fmla="*/ 1233 w 4438"/>
                      <a:gd name="T97" fmla="*/ 1258 h 8366"/>
                      <a:gd name="T98" fmla="*/ 1233 w 4438"/>
                      <a:gd name="T99" fmla="*/ 1458 h 8366"/>
                      <a:gd name="T100" fmla="*/ 417 w 4438"/>
                      <a:gd name="T101" fmla="*/ 1458 h 8366"/>
                      <a:gd name="T102" fmla="*/ 0 w 4438"/>
                      <a:gd name="T103" fmla="*/ 733 h 8366"/>
                      <a:gd name="T104" fmla="*/ 599 w 4438"/>
                      <a:gd name="T105" fmla="*/ 625 h 8366"/>
                      <a:gd name="T106" fmla="*/ 1236 w 4438"/>
                      <a:gd name="T107" fmla="*/ 742 h 8366"/>
                      <a:gd name="T108" fmla="*/ 615 w 4438"/>
                      <a:gd name="T109" fmla="*/ 842 h 8366"/>
                      <a:gd name="T110" fmla="*/ 0 w 4438"/>
                      <a:gd name="T111" fmla="*/ 733 h 83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4438" h="8366">
                        <a:moveTo>
                          <a:pt x="1975" y="8265"/>
                        </a:moveTo>
                        <a:cubicBezTo>
                          <a:pt x="1564" y="8193"/>
                          <a:pt x="1197" y="7997"/>
                          <a:pt x="921" y="7702"/>
                        </a:cubicBezTo>
                        <a:cubicBezTo>
                          <a:pt x="567" y="7322"/>
                          <a:pt x="400" y="6867"/>
                          <a:pt x="422" y="6342"/>
                        </a:cubicBezTo>
                        <a:cubicBezTo>
                          <a:pt x="432" y="6110"/>
                          <a:pt x="452" y="6009"/>
                          <a:pt x="528" y="5792"/>
                        </a:cubicBezTo>
                        <a:cubicBezTo>
                          <a:pt x="668" y="5394"/>
                          <a:pt x="957" y="5047"/>
                          <a:pt x="1334" y="4824"/>
                        </a:cubicBezTo>
                        <a:lnTo>
                          <a:pt x="1450" y="4755"/>
                        </a:lnTo>
                        <a:lnTo>
                          <a:pt x="1450" y="2738"/>
                        </a:lnTo>
                        <a:cubicBezTo>
                          <a:pt x="1450" y="934"/>
                          <a:pt x="1453" y="712"/>
                          <a:pt x="1477" y="628"/>
                        </a:cubicBezTo>
                        <a:cubicBezTo>
                          <a:pt x="1562" y="327"/>
                          <a:pt x="1792" y="103"/>
                          <a:pt x="2085" y="34"/>
                        </a:cubicBezTo>
                        <a:cubicBezTo>
                          <a:pt x="2228" y="0"/>
                          <a:pt x="2336" y="2"/>
                          <a:pt x="2481" y="40"/>
                        </a:cubicBezTo>
                        <a:cubicBezTo>
                          <a:pt x="2773" y="116"/>
                          <a:pt x="2996" y="345"/>
                          <a:pt x="3075" y="647"/>
                        </a:cubicBezTo>
                        <a:cubicBezTo>
                          <a:pt x="3097" y="730"/>
                          <a:pt x="3100" y="1015"/>
                          <a:pt x="3100" y="2748"/>
                        </a:cubicBezTo>
                        <a:lnTo>
                          <a:pt x="3100" y="4753"/>
                        </a:lnTo>
                        <a:lnTo>
                          <a:pt x="3238" y="4838"/>
                        </a:lnTo>
                        <a:cubicBezTo>
                          <a:pt x="4269" y="5472"/>
                          <a:pt x="4438" y="6888"/>
                          <a:pt x="3584" y="7742"/>
                        </a:cubicBezTo>
                        <a:cubicBezTo>
                          <a:pt x="3159" y="8166"/>
                          <a:pt x="2546" y="8366"/>
                          <a:pt x="1975" y="8265"/>
                        </a:cubicBezTo>
                        <a:close/>
                        <a:moveTo>
                          <a:pt x="2561" y="7849"/>
                        </a:moveTo>
                        <a:cubicBezTo>
                          <a:pt x="3254" y="7691"/>
                          <a:pt x="3717" y="7121"/>
                          <a:pt x="3717" y="6425"/>
                        </a:cubicBezTo>
                        <a:cubicBezTo>
                          <a:pt x="3717" y="5808"/>
                          <a:pt x="3376" y="5320"/>
                          <a:pt x="2763" y="5060"/>
                        </a:cubicBezTo>
                        <a:lnTo>
                          <a:pt x="2683" y="5026"/>
                        </a:lnTo>
                        <a:lnTo>
                          <a:pt x="2683" y="2886"/>
                        </a:lnTo>
                        <a:cubicBezTo>
                          <a:pt x="2683" y="511"/>
                          <a:pt x="2692" y="690"/>
                          <a:pt x="2571" y="556"/>
                        </a:cubicBezTo>
                        <a:cubicBezTo>
                          <a:pt x="2381" y="346"/>
                          <a:pt x="2048" y="391"/>
                          <a:pt x="1907" y="646"/>
                        </a:cubicBezTo>
                        <a:lnTo>
                          <a:pt x="1859" y="733"/>
                        </a:lnTo>
                        <a:lnTo>
                          <a:pt x="1858" y="2881"/>
                        </a:lnTo>
                        <a:lnTo>
                          <a:pt x="1858" y="5029"/>
                        </a:lnTo>
                        <a:lnTo>
                          <a:pt x="1717" y="5090"/>
                        </a:lnTo>
                        <a:cubicBezTo>
                          <a:pt x="1291" y="5274"/>
                          <a:pt x="994" y="5617"/>
                          <a:pt x="875" y="6063"/>
                        </a:cubicBezTo>
                        <a:cubicBezTo>
                          <a:pt x="805" y="6323"/>
                          <a:pt x="820" y="6673"/>
                          <a:pt x="912" y="6925"/>
                        </a:cubicBezTo>
                        <a:cubicBezTo>
                          <a:pt x="1056" y="7319"/>
                          <a:pt x="1408" y="7667"/>
                          <a:pt x="1792" y="7795"/>
                        </a:cubicBezTo>
                        <a:cubicBezTo>
                          <a:pt x="2036" y="7876"/>
                          <a:pt x="2346" y="7898"/>
                          <a:pt x="2561" y="7849"/>
                        </a:cubicBezTo>
                        <a:close/>
                        <a:moveTo>
                          <a:pt x="2042" y="7542"/>
                        </a:moveTo>
                        <a:cubicBezTo>
                          <a:pt x="1653" y="7458"/>
                          <a:pt x="1339" y="7177"/>
                          <a:pt x="1193" y="6783"/>
                        </a:cubicBezTo>
                        <a:cubicBezTo>
                          <a:pt x="1146" y="6659"/>
                          <a:pt x="1129" y="6378"/>
                          <a:pt x="1158" y="6217"/>
                        </a:cubicBezTo>
                        <a:cubicBezTo>
                          <a:pt x="1232" y="5800"/>
                          <a:pt x="1581" y="5429"/>
                          <a:pt x="1996" y="5325"/>
                        </a:cubicBezTo>
                        <a:lnTo>
                          <a:pt x="2067" y="5307"/>
                        </a:lnTo>
                        <a:lnTo>
                          <a:pt x="2067" y="4007"/>
                        </a:lnTo>
                        <a:lnTo>
                          <a:pt x="2067" y="2707"/>
                        </a:lnTo>
                        <a:lnTo>
                          <a:pt x="2271" y="2712"/>
                        </a:lnTo>
                        <a:lnTo>
                          <a:pt x="2475" y="2717"/>
                        </a:lnTo>
                        <a:lnTo>
                          <a:pt x="2483" y="4015"/>
                        </a:lnTo>
                        <a:lnTo>
                          <a:pt x="2492" y="5314"/>
                        </a:lnTo>
                        <a:lnTo>
                          <a:pt x="2581" y="5334"/>
                        </a:lnTo>
                        <a:cubicBezTo>
                          <a:pt x="2834" y="5391"/>
                          <a:pt x="3146" y="5640"/>
                          <a:pt x="3269" y="5883"/>
                        </a:cubicBezTo>
                        <a:cubicBezTo>
                          <a:pt x="3373" y="6090"/>
                          <a:pt x="3392" y="6173"/>
                          <a:pt x="3392" y="6433"/>
                        </a:cubicBezTo>
                        <a:cubicBezTo>
                          <a:pt x="3392" y="6692"/>
                          <a:pt x="3377" y="6756"/>
                          <a:pt x="3270" y="6967"/>
                        </a:cubicBezTo>
                        <a:cubicBezTo>
                          <a:pt x="3193" y="7116"/>
                          <a:pt x="2970" y="7343"/>
                          <a:pt x="2821" y="7422"/>
                        </a:cubicBezTo>
                        <a:cubicBezTo>
                          <a:pt x="2635" y="7520"/>
                          <a:pt x="2544" y="7543"/>
                          <a:pt x="2317" y="7550"/>
                        </a:cubicBezTo>
                        <a:cubicBezTo>
                          <a:pt x="2202" y="7554"/>
                          <a:pt x="2078" y="7550"/>
                          <a:pt x="2042" y="7542"/>
                        </a:cubicBezTo>
                        <a:close/>
                        <a:moveTo>
                          <a:pt x="0" y="4458"/>
                        </a:moveTo>
                        <a:lnTo>
                          <a:pt x="0" y="4358"/>
                        </a:lnTo>
                        <a:lnTo>
                          <a:pt x="617" y="4358"/>
                        </a:lnTo>
                        <a:lnTo>
                          <a:pt x="1233" y="4358"/>
                        </a:lnTo>
                        <a:lnTo>
                          <a:pt x="1233" y="4458"/>
                        </a:lnTo>
                        <a:lnTo>
                          <a:pt x="1233" y="4558"/>
                        </a:lnTo>
                        <a:lnTo>
                          <a:pt x="617" y="4558"/>
                        </a:lnTo>
                        <a:lnTo>
                          <a:pt x="0" y="4558"/>
                        </a:lnTo>
                        <a:lnTo>
                          <a:pt x="0" y="4458"/>
                        </a:lnTo>
                        <a:close/>
                        <a:moveTo>
                          <a:pt x="420" y="3841"/>
                        </a:moveTo>
                        <a:lnTo>
                          <a:pt x="425" y="3739"/>
                        </a:lnTo>
                        <a:lnTo>
                          <a:pt x="824" y="3741"/>
                        </a:lnTo>
                        <a:cubicBezTo>
                          <a:pt x="1044" y="3742"/>
                          <a:pt x="1225" y="3744"/>
                          <a:pt x="1227" y="3746"/>
                        </a:cubicBezTo>
                        <a:cubicBezTo>
                          <a:pt x="1229" y="3748"/>
                          <a:pt x="1233" y="3791"/>
                          <a:pt x="1235" y="3842"/>
                        </a:cubicBezTo>
                        <a:lnTo>
                          <a:pt x="1240" y="3933"/>
                        </a:lnTo>
                        <a:lnTo>
                          <a:pt x="828" y="3938"/>
                        </a:lnTo>
                        <a:lnTo>
                          <a:pt x="415" y="3942"/>
                        </a:lnTo>
                        <a:lnTo>
                          <a:pt x="420" y="3841"/>
                        </a:lnTo>
                        <a:close/>
                        <a:moveTo>
                          <a:pt x="0" y="3218"/>
                        </a:moveTo>
                        <a:lnTo>
                          <a:pt x="0" y="3111"/>
                        </a:lnTo>
                        <a:lnTo>
                          <a:pt x="613" y="3114"/>
                        </a:lnTo>
                        <a:lnTo>
                          <a:pt x="1225" y="3117"/>
                        </a:lnTo>
                        <a:lnTo>
                          <a:pt x="1225" y="3217"/>
                        </a:lnTo>
                        <a:lnTo>
                          <a:pt x="1225" y="3317"/>
                        </a:lnTo>
                        <a:lnTo>
                          <a:pt x="613" y="3321"/>
                        </a:lnTo>
                        <a:lnTo>
                          <a:pt x="0" y="3325"/>
                        </a:lnTo>
                        <a:lnTo>
                          <a:pt x="0" y="3218"/>
                        </a:lnTo>
                        <a:close/>
                        <a:moveTo>
                          <a:pt x="420" y="2596"/>
                        </a:moveTo>
                        <a:lnTo>
                          <a:pt x="425" y="2500"/>
                        </a:lnTo>
                        <a:lnTo>
                          <a:pt x="829" y="2496"/>
                        </a:lnTo>
                        <a:lnTo>
                          <a:pt x="1233" y="2491"/>
                        </a:lnTo>
                        <a:lnTo>
                          <a:pt x="1233" y="2591"/>
                        </a:lnTo>
                        <a:lnTo>
                          <a:pt x="1233" y="2692"/>
                        </a:lnTo>
                        <a:lnTo>
                          <a:pt x="824" y="2692"/>
                        </a:lnTo>
                        <a:lnTo>
                          <a:pt x="415" y="2692"/>
                        </a:lnTo>
                        <a:lnTo>
                          <a:pt x="420" y="2596"/>
                        </a:lnTo>
                        <a:close/>
                        <a:moveTo>
                          <a:pt x="0" y="1975"/>
                        </a:moveTo>
                        <a:lnTo>
                          <a:pt x="0" y="1875"/>
                        </a:lnTo>
                        <a:lnTo>
                          <a:pt x="617" y="1875"/>
                        </a:lnTo>
                        <a:lnTo>
                          <a:pt x="1233" y="1875"/>
                        </a:lnTo>
                        <a:lnTo>
                          <a:pt x="1233" y="1975"/>
                        </a:lnTo>
                        <a:lnTo>
                          <a:pt x="1233" y="2075"/>
                        </a:lnTo>
                        <a:lnTo>
                          <a:pt x="617" y="2075"/>
                        </a:lnTo>
                        <a:lnTo>
                          <a:pt x="0" y="2075"/>
                        </a:lnTo>
                        <a:lnTo>
                          <a:pt x="0" y="1975"/>
                        </a:lnTo>
                        <a:close/>
                        <a:moveTo>
                          <a:pt x="417" y="1358"/>
                        </a:moveTo>
                        <a:lnTo>
                          <a:pt x="417" y="1258"/>
                        </a:lnTo>
                        <a:lnTo>
                          <a:pt x="825" y="1258"/>
                        </a:lnTo>
                        <a:lnTo>
                          <a:pt x="1233" y="1258"/>
                        </a:lnTo>
                        <a:lnTo>
                          <a:pt x="1233" y="1358"/>
                        </a:lnTo>
                        <a:lnTo>
                          <a:pt x="1233" y="1458"/>
                        </a:lnTo>
                        <a:lnTo>
                          <a:pt x="825" y="1458"/>
                        </a:lnTo>
                        <a:lnTo>
                          <a:pt x="417" y="1458"/>
                        </a:lnTo>
                        <a:lnTo>
                          <a:pt x="417" y="1358"/>
                        </a:lnTo>
                        <a:close/>
                        <a:moveTo>
                          <a:pt x="0" y="733"/>
                        </a:moveTo>
                        <a:lnTo>
                          <a:pt x="0" y="625"/>
                        </a:lnTo>
                        <a:lnTo>
                          <a:pt x="599" y="625"/>
                        </a:lnTo>
                        <a:cubicBezTo>
                          <a:pt x="928" y="625"/>
                          <a:pt x="1207" y="629"/>
                          <a:pt x="1219" y="633"/>
                        </a:cubicBezTo>
                        <a:cubicBezTo>
                          <a:pt x="1235" y="640"/>
                          <a:pt x="1240" y="670"/>
                          <a:pt x="1236" y="742"/>
                        </a:cubicBezTo>
                        <a:lnTo>
                          <a:pt x="1230" y="842"/>
                        </a:lnTo>
                        <a:lnTo>
                          <a:pt x="615" y="842"/>
                        </a:lnTo>
                        <a:lnTo>
                          <a:pt x="0" y="842"/>
                        </a:lnTo>
                        <a:lnTo>
                          <a:pt x="0" y="733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>
                      <a:latin typeface="+mn-lt"/>
                    </a:endParaRPr>
                  </a:p>
                </p:txBody>
              </p:sp>
              <p:grpSp>
                <p:nvGrpSpPr>
                  <p:cNvPr id="519" name="Group 518"/>
                  <p:cNvGrpSpPr/>
                  <p:nvPr/>
                </p:nvGrpSpPr>
                <p:grpSpPr>
                  <a:xfrm flipH="1">
                    <a:off x="4983434" y="4680398"/>
                    <a:ext cx="218290" cy="207502"/>
                    <a:chOff x="5186363" y="2203451"/>
                    <a:chExt cx="546100" cy="519113"/>
                  </a:xfrm>
                  <a:solidFill>
                    <a:schemeClr val="bg1"/>
                  </a:solidFill>
                </p:grpSpPr>
                <p:sp>
                  <p:nvSpPr>
                    <p:cNvPr id="520" name="Freeform 202"/>
                    <p:cNvSpPr>
                      <a:spLocks/>
                    </p:cNvSpPr>
                    <p:nvPr/>
                  </p:nvSpPr>
                  <p:spPr bwMode="auto">
                    <a:xfrm>
                      <a:off x="5268913" y="2298701"/>
                      <a:ext cx="463550" cy="423863"/>
                    </a:xfrm>
                    <a:custGeom>
                      <a:avLst/>
                      <a:gdLst>
                        <a:gd name="T0" fmla="*/ 87 w 304"/>
                        <a:gd name="T1" fmla="*/ 277 h 277"/>
                        <a:gd name="T2" fmla="*/ 197 w 304"/>
                        <a:gd name="T3" fmla="*/ 277 h 277"/>
                        <a:gd name="T4" fmla="*/ 214 w 304"/>
                        <a:gd name="T5" fmla="*/ 260 h 277"/>
                        <a:gd name="T6" fmla="*/ 197 w 304"/>
                        <a:gd name="T7" fmla="*/ 244 h 277"/>
                        <a:gd name="T8" fmla="*/ 87 w 304"/>
                        <a:gd name="T9" fmla="*/ 243 h 277"/>
                        <a:gd name="T10" fmla="*/ 38 w 304"/>
                        <a:gd name="T11" fmla="*/ 199 h 277"/>
                        <a:gd name="T12" fmla="*/ 87 w 304"/>
                        <a:gd name="T13" fmla="*/ 155 h 277"/>
                        <a:gd name="T14" fmla="*/ 108 w 304"/>
                        <a:gd name="T15" fmla="*/ 155 h 277"/>
                        <a:gd name="T16" fmla="*/ 108 w 304"/>
                        <a:gd name="T17" fmla="*/ 155 h 277"/>
                        <a:gd name="T18" fmla="*/ 218 w 304"/>
                        <a:gd name="T19" fmla="*/ 155 h 277"/>
                        <a:gd name="T20" fmla="*/ 304 w 304"/>
                        <a:gd name="T21" fmla="*/ 77 h 277"/>
                        <a:gd name="T22" fmla="*/ 218 w 304"/>
                        <a:gd name="T23" fmla="*/ 0 h 277"/>
                        <a:gd name="T24" fmla="*/ 175 w 304"/>
                        <a:gd name="T25" fmla="*/ 0 h 277"/>
                        <a:gd name="T26" fmla="*/ 175 w 304"/>
                        <a:gd name="T27" fmla="*/ 33 h 277"/>
                        <a:gd name="T28" fmla="*/ 218 w 304"/>
                        <a:gd name="T29" fmla="*/ 33 h 277"/>
                        <a:gd name="T30" fmla="*/ 267 w 304"/>
                        <a:gd name="T31" fmla="*/ 77 h 277"/>
                        <a:gd name="T32" fmla="*/ 218 w 304"/>
                        <a:gd name="T33" fmla="*/ 122 h 277"/>
                        <a:gd name="T34" fmla="*/ 87 w 304"/>
                        <a:gd name="T35" fmla="*/ 122 h 277"/>
                        <a:gd name="T36" fmla="*/ 0 w 304"/>
                        <a:gd name="T37" fmla="*/ 199 h 277"/>
                        <a:gd name="T38" fmla="*/ 87 w 304"/>
                        <a:gd name="T39" fmla="*/ 277 h 2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304" h="277">
                          <a:moveTo>
                            <a:pt x="87" y="277"/>
                          </a:moveTo>
                          <a:cubicBezTo>
                            <a:pt x="197" y="277"/>
                            <a:pt x="197" y="277"/>
                            <a:pt x="197" y="277"/>
                          </a:cubicBezTo>
                          <a:cubicBezTo>
                            <a:pt x="206" y="277"/>
                            <a:pt x="214" y="270"/>
                            <a:pt x="214" y="260"/>
                          </a:cubicBezTo>
                          <a:cubicBezTo>
                            <a:pt x="214" y="251"/>
                            <a:pt x="206" y="243"/>
                            <a:pt x="197" y="244"/>
                          </a:cubicBezTo>
                          <a:cubicBezTo>
                            <a:pt x="87" y="243"/>
                            <a:pt x="87" y="243"/>
                            <a:pt x="87" y="243"/>
                          </a:cubicBezTo>
                          <a:cubicBezTo>
                            <a:pt x="60" y="243"/>
                            <a:pt x="38" y="224"/>
                            <a:pt x="38" y="199"/>
                          </a:cubicBezTo>
                          <a:cubicBezTo>
                            <a:pt x="38" y="175"/>
                            <a:pt x="60" y="155"/>
                            <a:pt x="87" y="155"/>
                          </a:cubicBezTo>
                          <a:cubicBezTo>
                            <a:pt x="108" y="155"/>
                            <a:pt x="108" y="155"/>
                            <a:pt x="108" y="155"/>
                          </a:cubicBezTo>
                          <a:cubicBezTo>
                            <a:pt x="108" y="155"/>
                            <a:pt x="108" y="155"/>
                            <a:pt x="108" y="155"/>
                          </a:cubicBezTo>
                          <a:cubicBezTo>
                            <a:pt x="218" y="155"/>
                            <a:pt x="218" y="155"/>
                            <a:pt x="218" y="155"/>
                          </a:cubicBezTo>
                          <a:cubicBezTo>
                            <a:pt x="265" y="155"/>
                            <a:pt x="304" y="120"/>
                            <a:pt x="304" y="77"/>
                          </a:cubicBezTo>
                          <a:cubicBezTo>
                            <a:pt x="304" y="34"/>
                            <a:pt x="265" y="0"/>
                            <a:pt x="218" y="0"/>
                          </a:cubicBezTo>
                          <a:cubicBezTo>
                            <a:pt x="175" y="0"/>
                            <a:pt x="175" y="0"/>
                            <a:pt x="175" y="0"/>
                          </a:cubicBezTo>
                          <a:cubicBezTo>
                            <a:pt x="175" y="33"/>
                            <a:pt x="175" y="33"/>
                            <a:pt x="175" y="33"/>
                          </a:cubicBezTo>
                          <a:cubicBezTo>
                            <a:pt x="218" y="33"/>
                            <a:pt x="218" y="33"/>
                            <a:pt x="218" y="33"/>
                          </a:cubicBezTo>
                          <a:cubicBezTo>
                            <a:pt x="245" y="33"/>
                            <a:pt x="267" y="53"/>
                            <a:pt x="267" y="77"/>
                          </a:cubicBezTo>
                          <a:cubicBezTo>
                            <a:pt x="267" y="102"/>
                            <a:pt x="245" y="122"/>
                            <a:pt x="218" y="122"/>
                          </a:cubicBezTo>
                          <a:cubicBezTo>
                            <a:pt x="87" y="122"/>
                            <a:pt x="87" y="122"/>
                            <a:pt x="87" y="122"/>
                          </a:cubicBezTo>
                          <a:cubicBezTo>
                            <a:pt x="39" y="121"/>
                            <a:pt x="0" y="156"/>
                            <a:pt x="0" y="199"/>
                          </a:cubicBezTo>
                          <a:cubicBezTo>
                            <a:pt x="0" y="242"/>
                            <a:pt x="39" y="277"/>
                            <a:pt x="87" y="27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>
                        <a:latin typeface="+mn-lt"/>
                      </a:endParaRPr>
                    </a:p>
                  </p:txBody>
                </p:sp>
                <p:sp>
                  <p:nvSpPr>
                    <p:cNvPr id="521" name="Freeform 20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275263" y="2203451"/>
                      <a:ext cx="268288" cy="239713"/>
                    </a:xfrm>
                    <a:custGeom>
                      <a:avLst/>
                      <a:gdLst>
                        <a:gd name="T0" fmla="*/ 113 w 176"/>
                        <a:gd name="T1" fmla="*/ 157 h 157"/>
                        <a:gd name="T2" fmla="*/ 19 w 176"/>
                        <a:gd name="T3" fmla="*/ 157 h 157"/>
                        <a:gd name="T4" fmla="*/ 0 w 176"/>
                        <a:gd name="T5" fmla="*/ 137 h 157"/>
                        <a:gd name="T6" fmla="*/ 0 w 176"/>
                        <a:gd name="T7" fmla="*/ 20 h 157"/>
                        <a:gd name="T8" fmla="*/ 19 w 176"/>
                        <a:gd name="T9" fmla="*/ 0 h 157"/>
                        <a:gd name="T10" fmla="*/ 113 w 176"/>
                        <a:gd name="T11" fmla="*/ 0 h 157"/>
                        <a:gd name="T12" fmla="*/ 176 w 176"/>
                        <a:gd name="T13" fmla="*/ 71 h 157"/>
                        <a:gd name="T14" fmla="*/ 176 w 176"/>
                        <a:gd name="T15" fmla="*/ 86 h 157"/>
                        <a:gd name="T16" fmla="*/ 113 w 176"/>
                        <a:gd name="T17" fmla="*/ 157 h 157"/>
                        <a:gd name="T18" fmla="*/ 20 w 176"/>
                        <a:gd name="T19" fmla="*/ 137 h 157"/>
                        <a:gd name="T20" fmla="*/ 113 w 176"/>
                        <a:gd name="T21" fmla="*/ 137 h 157"/>
                        <a:gd name="T22" fmla="*/ 156 w 176"/>
                        <a:gd name="T23" fmla="*/ 86 h 157"/>
                        <a:gd name="T24" fmla="*/ 156 w 176"/>
                        <a:gd name="T25" fmla="*/ 71 h 157"/>
                        <a:gd name="T26" fmla="*/ 113 w 176"/>
                        <a:gd name="T27" fmla="*/ 20 h 157"/>
                        <a:gd name="T28" fmla="*/ 20 w 176"/>
                        <a:gd name="T29" fmla="*/ 20 h 157"/>
                        <a:gd name="T30" fmla="*/ 20 w 176"/>
                        <a:gd name="T31" fmla="*/ 20 h 157"/>
                        <a:gd name="T32" fmla="*/ 20 w 176"/>
                        <a:gd name="T33" fmla="*/ 137 h 157"/>
                        <a:gd name="T34" fmla="*/ 20 w 176"/>
                        <a:gd name="T35" fmla="*/ 137 h 15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176" h="157">
                          <a:moveTo>
                            <a:pt x="113" y="157"/>
                          </a:moveTo>
                          <a:cubicBezTo>
                            <a:pt x="19" y="157"/>
                            <a:pt x="19" y="157"/>
                            <a:pt x="19" y="157"/>
                          </a:cubicBezTo>
                          <a:cubicBezTo>
                            <a:pt x="9" y="157"/>
                            <a:pt x="0" y="148"/>
                            <a:pt x="0" y="137"/>
                          </a:cubicBezTo>
                          <a:cubicBezTo>
                            <a:pt x="0" y="20"/>
                            <a:pt x="0" y="20"/>
                            <a:pt x="0" y="20"/>
                          </a:cubicBezTo>
                          <a:cubicBezTo>
                            <a:pt x="0" y="9"/>
                            <a:pt x="8" y="0"/>
                            <a:pt x="19" y="0"/>
                          </a:cubicBezTo>
                          <a:cubicBezTo>
                            <a:pt x="113" y="0"/>
                            <a:pt x="113" y="0"/>
                            <a:pt x="113" y="0"/>
                          </a:cubicBezTo>
                          <a:cubicBezTo>
                            <a:pt x="148" y="0"/>
                            <a:pt x="176" y="32"/>
                            <a:pt x="176" y="71"/>
                          </a:cubicBezTo>
                          <a:cubicBezTo>
                            <a:pt x="176" y="86"/>
                            <a:pt x="176" y="86"/>
                            <a:pt x="176" y="86"/>
                          </a:cubicBezTo>
                          <a:cubicBezTo>
                            <a:pt x="176" y="125"/>
                            <a:pt x="148" y="157"/>
                            <a:pt x="113" y="157"/>
                          </a:cubicBezTo>
                          <a:close/>
                          <a:moveTo>
                            <a:pt x="20" y="137"/>
                          </a:moveTo>
                          <a:cubicBezTo>
                            <a:pt x="113" y="137"/>
                            <a:pt x="113" y="137"/>
                            <a:pt x="113" y="137"/>
                          </a:cubicBezTo>
                          <a:cubicBezTo>
                            <a:pt x="137" y="137"/>
                            <a:pt x="156" y="114"/>
                            <a:pt x="156" y="86"/>
                          </a:cubicBezTo>
                          <a:cubicBezTo>
                            <a:pt x="156" y="71"/>
                            <a:pt x="156" y="71"/>
                            <a:pt x="156" y="71"/>
                          </a:cubicBezTo>
                          <a:cubicBezTo>
                            <a:pt x="156" y="43"/>
                            <a:pt x="137" y="20"/>
                            <a:pt x="113" y="20"/>
                          </a:cubicBezTo>
                          <a:cubicBezTo>
                            <a:pt x="20" y="20"/>
                            <a:pt x="20" y="20"/>
                            <a:pt x="20" y="20"/>
                          </a:cubicBezTo>
                          <a:cubicBezTo>
                            <a:pt x="20" y="20"/>
                            <a:pt x="20" y="20"/>
                            <a:pt x="20" y="20"/>
                          </a:cubicBezTo>
                          <a:cubicBezTo>
                            <a:pt x="20" y="137"/>
                            <a:pt x="20" y="137"/>
                            <a:pt x="20" y="137"/>
                          </a:cubicBezTo>
                          <a:cubicBezTo>
                            <a:pt x="20" y="137"/>
                            <a:pt x="20" y="137"/>
                            <a:pt x="20" y="13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>
                        <a:latin typeface="+mn-lt"/>
                      </a:endParaRPr>
                    </a:p>
                  </p:txBody>
                </p:sp>
                <p:sp>
                  <p:nvSpPr>
                    <p:cNvPr id="522" name="Freeform 205"/>
                    <p:cNvSpPr>
                      <a:spLocks/>
                    </p:cNvSpPr>
                    <p:nvPr/>
                  </p:nvSpPr>
                  <p:spPr bwMode="auto">
                    <a:xfrm>
                      <a:off x="5186363" y="2254251"/>
                      <a:ext cx="96838" cy="44450"/>
                    </a:xfrm>
                    <a:custGeom>
                      <a:avLst/>
                      <a:gdLst>
                        <a:gd name="T0" fmla="*/ 64 w 64"/>
                        <a:gd name="T1" fmla="*/ 0 h 30"/>
                        <a:gd name="T2" fmla="*/ 11 w 64"/>
                        <a:gd name="T3" fmla="*/ 0 h 30"/>
                        <a:gd name="T4" fmla="*/ 0 w 64"/>
                        <a:gd name="T5" fmla="*/ 13 h 30"/>
                        <a:gd name="T6" fmla="*/ 0 w 64"/>
                        <a:gd name="T7" fmla="*/ 16 h 30"/>
                        <a:gd name="T8" fmla="*/ 11 w 64"/>
                        <a:gd name="T9" fmla="*/ 30 h 30"/>
                        <a:gd name="T10" fmla="*/ 64 w 64"/>
                        <a:gd name="T11" fmla="*/ 30 h 30"/>
                        <a:gd name="T12" fmla="*/ 64 w 64"/>
                        <a:gd name="T1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4" h="30">
                          <a:moveTo>
                            <a:pt x="64" y="0"/>
                          </a:moveTo>
                          <a:cubicBezTo>
                            <a:pt x="11" y="0"/>
                            <a:pt x="11" y="0"/>
                            <a:pt x="11" y="0"/>
                          </a:cubicBezTo>
                          <a:cubicBezTo>
                            <a:pt x="5" y="0"/>
                            <a:pt x="0" y="6"/>
                            <a:pt x="0" y="13"/>
                          </a:cubicBezTo>
                          <a:cubicBezTo>
                            <a:pt x="0" y="16"/>
                            <a:pt x="0" y="16"/>
                            <a:pt x="0" y="16"/>
                          </a:cubicBezTo>
                          <a:cubicBezTo>
                            <a:pt x="0" y="23"/>
                            <a:pt x="5" y="30"/>
                            <a:pt x="11" y="30"/>
                          </a:cubicBezTo>
                          <a:cubicBezTo>
                            <a:pt x="64" y="30"/>
                            <a:pt x="64" y="30"/>
                            <a:pt x="64" y="30"/>
                          </a:cubicBezTo>
                          <a:lnTo>
                            <a:pt x="64" y="0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>
                        <a:latin typeface="+mn-lt"/>
                      </a:endParaRPr>
                    </a:p>
                  </p:txBody>
                </p:sp>
                <p:sp>
                  <p:nvSpPr>
                    <p:cNvPr id="523" name="Freeform 207"/>
                    <p:cNvSpPr>
                      <a:spLocks/>
                    </p:cNvSpPr>
                    <p:nvPr/>
                  </p:nvSpPr>
                  <p:spPr bwMode="auto">
                    <a:xfrm>
                      <a:off x="5186363" y="2346326"/>
                      <a:ext cx="96838" cy="46038"/>
                    </a:xfrm>
                    <a:custGeom>
                      <a:avLst/>
                      <a:gdLst>
                        <a:gd name="T0" fmla="*/ 64 w 64"/>
                        <a:gd name="T1" fmla="*/ 0 h 30"/>
                        <a:gd name="T2" fmla="*/ 11 w 64"/>
                        <a:gd name="T3" fmla="*/ 0 h 30"/>
                        <a:gd name="T4" fmla="*/ 0 w 64"/>
                        <a:gd name="T5" fmla="*/ 14 h 30"/>
                        <a:gd name="T6" fmla="*/ 0 w 64"/>
                        <a:gd name="T7" fmla="*/ 17 h 30"/>
                        <a:gd name="T8" fmla="*/ 11 w 64"/>
                        <a:gd name="T9" fmla="*/ 30 h 30"/>
                        <a:gd name="T10" fmla="*/ 64 w 64"/>
                        <a:gd name="T11" fmla="*/ 30 h 30"/>
                        <a:gd name="T12" fmla="*/ 64 w 64"/>
                        <a:gd name="T13" fmla="*/ 0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64" h="30">
                          <a:moveTo>
                            <a:pt x="64" y="0"/>
                          </a:moveTo>
                          <a:cubicBezTo>
                            <a:pt x="11" y="0"/>
                            <a:pt x="11" y="0"/>
                            <a:pt x="11" y="0"/>
                          </a:cubicBezTo>
                          <a:cubicBezTo>
                            <a:pt x="5" y="0"/>
                            <a:pt x="0" y="7"/>
                            <a:pt x="0" y="14"/>
                          </a:cubicBezTo>
                          <a:cubicBezTo>
                            <a:pt x="0" y="17"/>
                            <a:pt x="0" y="17"/>
                            <a:pt x="0" y="17"/>
                          </a:cubicBezTo>
                          <a:cubicBezTo>
                            <a:pt x="0" y="24"/>
                            <a:pt x="5" y="30"/>
                            <a:pt x="11" y="30"/>
                          </a:cubicBezTo>
                          <a:cubicBezTo>
                            <a:pt x="64" y="30"/>
                            <a:pt x="64" y="30"/>
                            <a:pt x="64" y="30"/>
                          </a:cubicBezTo>
                          <a:lnTo>
                            <a:pt x="64" y="0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>
                        <a:latin typeface="+mn-lt"/>
                      </a:endParaRPr>
                    </a:p>
                  </p:txBody>
                </p:sp>
              </p:grpSp>
            </p:grpSp>
          </p:grpSp>
          <p:sp>
            <p:nvSpPr>
              <p:cNvPr id="57" name="TextBox 56"/>
              <p:cNvSpPr txBox="1">
                <a:spLocks/>
              </p:cNvSpPr>
              <p:nvPr/>
            </p:nvSpPr>
            <p:spPr>
              <a:xfrm>
                <a:off x="7788275" y="4014887"/>
                <a:ext cx="2647718" cy="738664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119386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258246" lvl="1" indent="-256130" defTabSz="1193860" eaLnBrk="1" hangingPunct="1">
                  <a:buClr>
                    <a:schemeClr val="accent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609630" lvl="2" indent="-349268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819192" lvl="3" indent="-207444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999794" lvl="4" indent="-173575" defTabSz="1193860" eaLnBrk="1" hangingPunct="1">
                  <a:buClr>
                    <a:schemeClr val="accent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accent2"/>
                    </a:solidFill>
                  </a:rPr>
                  <a:t>Disruptive heat electrification</a:t>
                </a:r>
                <a:br>
                  <a:rPr lang="en-US" b="1" dirty="0">
                    <a:solidFill>
                      <a:schemeClr val="accent2"/>
                    </a:solidFill>
                  </a:rPr>
                </a:br>
                <a:endParaRPr lang="en-US" dirty="0"/>
              </a:p>
            </p:txBody>
          </p:sp>
          <p:sp>
            <p:nvSpPr>
              <p:cNvPr id="471" name="Freeform 6"/>
              <p:cNvSpPr>
                <a:spLocks noEditPoints="1"/>
              </p:cNvSpPr>
              <p:nvPr/>
            </p:nvSpPr>
            <p:spPr bwMode="auto">
              <a:xfrm>
                <a:off x="10556532" y="4191000"/>
                <a:ext cx="302724" cy="469264"/>
              </a:xfrm>
              <a:custGeom>
                <a:avLst/>
                <a:gdLst>
                  <a:gd name="T0" fmla="*/ 991 w 2472"/>
                  <a:gd name="T1" fmla="*/ 2821 h 3832"/>
                  <a:gd name="T2" fmla="*/ 1011 w 2472"/>
                  <a:gd name="T3" fmla="*/ 2563 h 3832"/>
                  <a:gd name="T4" fmla="*/ 1070 w 2472"/>
                  <a:gd name="T5" fmla="*/ 2345 h 3832"/>
                  <a:gd name="T6" fmla="*/ 1123 w 2472"/>
                  <a:gd name="T7" fmla="*/ 2230 h 3832"/>
                  <a:gd name="T8" fmla="*/ 1225 w 2472"/>
                  <a:gd name="T9" fmla="*/ 2077 h 3832"/>
                  <a:gd name="T10" fmla="*/ 1312 w 2472"/>
                  <a:gd name="T11" fmla="*/ 1977 h 3832"/>
                  <a:gd name="T12" fmla="*/ 1596 w 2472"/>
                  <a:gd name="T13" fmla="*/ 1711 h 3832"/>
                  <a:gd name="T14" fmla="*/ 1755 w 2472"/>
                  <a:gd name="T15" fmla="*/ 1562 h 3832"/>
                  <a:gd name="T16" fmla="*/ 1893 w 2472"/>
                  <a:gd name="T17" fmla="*/ 1401 h 3832"/>
                  <a:gd name="T18" fmla="*/ 1946 w 2472"/>
                  <a:gd name="T19" fmla="*/ 1301 h 3832"/>
                  <a:gd name="T20" fmla="*/ 1983 w 2472"/>
                  <a:gd name="T21" fmla="*/ 1160 h 3832"/>
                  <a:gd name="T22" fmla="*/ 1986 w 2472"/>
                  <a:gd name="T23" fmla="*/ 1051 h 3832"/>
                  <a:gd name="T24" fmla="*/ 1967 w 2472"/>
                  <a:gd name="T25" fmla="*/ 919 h 3832"/>
                  <a:gd name="T26" fmla="*/ 1919 w 2472"/>
                  <a:gd name="T27" fmla="*/ 797 h 3832"/>
                  <a:gd name="T28" fmla="*/ 1846 w 2472"/>
                  <a:gd name="T29" fmla="*/ 682 h 3832"/>
                  <a:gd name="T30" fmla="*/ 1773 w 2472"/>
                  <a:gd name="T31" fmla="*/ 601 h 3832"/>
                  <a:gd name="T32" fmla="*/ 1660 w 2472"/>
                  <a:gd name="T33" fmla="*/ 509 h 3832"/>
                  <a:gd name="T34" fmla="*/ 1536 w 2472"/>
                  <a:gd name="T35" fmla="*/ 444 h 3832"/>
                  <a:gd name="T36" fmla="*/ 1397 w 2472"/>
                  <a:gd name="T37" fmla="*/ 405 h 3832"/>
                  <a:gd name="T38" fmla="*/ 1248 w 2472"/>
                  <a:gd name="T39" fmla="*/ 391 h 3832"/>
                  <a:gd name="T40" fmla="*/ 1140 w 2472"/>
                  <a:gd name="T41" fmla="*/ 399 h 3832"/>
                  <a:gd name="T42" fmla="*/ 1005 w 2472"/>
                  <a:gd name="T43" fmla="*/ 429 h 3832"/>
                  <a:gd name="T44" fmla="*/ 884 w 2472"/>
                  <a:gd name="T45" fmla="*/ 481 h 3832"/>
                  <a:gd name="T46" fmla="*/ 773 w 2472"/>
                  <a:gd name="T47" fmla="*/ 559 h 3832"/>
                  <a:gd name="T48" fmla="*/ 700 w 2472"/>
                  <a:gd name="T49" fmla="*/ 632 h 3832"/>
                  <a:gd name="T50" fmla="*/ 616 w 2472"/>
                  <a:gd name="T51" fmla="*/ 753 h 3832"/>
                  <a:gd name="T52" fmla="*/ 551 w 2472"/>
                  <a:gd name="T53" fmla="*/ 902 h 3832"/>
                  <a:gd name="T54" fmla="*/ 502 w 2472"/>
                  <a:gd name="T55" fmla="*/ 1078 h 3832"/>
                  <a:gd name="T56" fmla="*/ 0 w 2472"/>
                  <a:gd name="T57" fmla="*/ 1112 h 3832"/>
                  <a:gd name="T58" fmla="*/ 48 w 2472"/>
                  <a:gd name="T59" fmla="*/ 859 h 3832"/>
                  <a:gd name="T60" fmla="*/ 129 w 2472"/>
                  <a:gd name="T61" fmla="*/ 637 h 3832"/>
                  <a:gd name="T62" fmla="*/ 242 w 2472"/>
                  <a:gd name="T63" fmla="*/ 446 h 3832"/>
                  <a:gd name="T64" fmla="*/ 388 w 2472"/>
                  <a:gd name="T65" fmla="*/ 287 h 3832"/>
                  <a:gd name="T66" fmla="*/ 517 w 2472"/>
                  <a:gd name="T67" fmla="*/ 189 h 3832"/>
                  <a:gd name="T68" fmla="*/ 710 w 2472"/>
                  <a:gd name="T69" fmla="*/ 92 h 3832"/>
                  <a:gd name="T70" fmla="*/ 930 w 2472"/>
                  <a:gd name="T71" fmla="*/ 28 h 3832"/>
                  <a:gd name="T72" fmla="*/ 1175 w 2472"/>
                  <a:gd name="T73" fmla="*/ 2 h 3832"/>
                  <a:gd name="T74" fmla="*/ 1379 w 2472"/>
                  <a:gd name="T75" fmla="*/ 5 h 3832"/>
                  <a:gd name="T76" fmla="*/ 1630 w 2472"/>
                  <a:gd name="T77" fmla="*/ 43 h 3832"/>
                  <a:gd name="T78" fmla="*/ 1854 w 2472"/>
                  <a:gd name="T79" fmla="*/ 121 h 3832"/>
                  <a:gd name="T80" fmla="*/ 2050 w 2472"/>
                  <a:gd name="T81" fmla="*/ 236 h 3832"/>
                  <a:gd name="T82" fmla="*/ 2179 w 2472"/>
                  <a:gd name="T83" fmla="*/ 348 h 3832"/>
                  <a:gd name="T84" fmla="*/ 2314 w 2472"/>
                  <a:gd name="T85" fmla="*/ 512 h 3832"/>
                  <a:gd name="T86" fmla="*/ 2408 w 2472"/>
                  <a:gd name="T87" fmla="*/ 696 h 3832"/>
                  <a:gd name="T88" fmla="*/ 2460 w 2472"/>
                  <a:gd name="T89" fmla="*/ 893 h 3832"/>
                  <a:gd name="T90" fmla="*/ 2472 w 2472"/>
                  <a:gd name="T91" fmla="*/ 1053 h 3832"/>
                  <a:gd name="T92" fmla="*/ 2464 w 2472"/>
                  <a:gd name="T93" fmla="*/ 1175 h 3832"/>
                  <a:gd name="T94" fmla="*/ 2442 w 2472"/>
                  <a:gd name="T95" fmla="*/ 1295 h 3832"/>
                  <a:gd name="T96" fmla="*/ 2405 w 2472"/>
                  <a:gd name="T97" fmla="*/ 1408 h 3832"/>
                  <a:gd name="T98" fmla="*/ 2354 w 2472"/>
                  <a:gd name="T99" fmla="*/ 1517 h 3832"/>
                  <a:gd name="T100" fmla="*/ 2301 w 2472"/>
                  <a:gd name="T101" fmla="*/ 1601 h 3832"/>
                  <a:gd name="T102" fmla="*/ 2180 w 2472"/>
                  <a:gd name="T103" fmla="*/ 1753 h 3832"/>
                  <a:gd name="T104" fmla="*/ 1893 w 2472"/>
                  <a:gd name="T105" fmla="*/ 2034 h 3832"/>
                  <a:gd name="T106" fmla="*/ 1702 w 2472"/>
                  <a:gd name="T107" fmla="*/ 2211 h 3832"/>
                  <a:gd name="T108" fmla="*/ 1592 w 2472"/>
                  <a:gd name="T109" fmla="*/ 2334 h 3832"/>
                  <a:gd name="T110" fmla="*/ 1543 w 2472"/>
                  <a:gd name="T111" fmla="*/ 2410 h 3832"/>
                  <a:gd name="T112" fmla="*/ 1495 w 2472"/>
                  <a:gd name="T113" fmla="*/ 2525 h 3832"/>
                  <a:gd name="T114" fmla="*/ 1472 w 2472"/>
                  <a:gd name="T115" fmla="*/ 2629 h 3832"/>
                  <a:gd name="T116" fmla="*/ 1452 w 2472"/>
                  <a:gd name="T117" fmla="*/ 2832 h 3832"/>
                  <a:gd name="T118" fmla="*/ 988 w 2472"/>
                  <a:gd name="T119" fmla="*/ 3832 h 3832"/>
                  <a:gd name="T120" fmla="*/ 988 w 2472"/>
                  <a:gd name="T121" fmla="*/ 3832 h 3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72" h="3832">
                    <a:moveTo>
                      <a:pt x="994" y="2963"/>
                    </a:moveTo>
                    <a:lnTo>
                      <a:pt x="994" y="2963"/>
                    </a:lnTo>
                    <a:lnTo>
                      <a:pt x="991" y="2821"/>
                    </a:lnTo>
                    <a:lnTo>
                      <a:pt x="991" y="2821"/>
                    </a:lnTo>
                    <a:lnTo>
                      <a:pt x="992" y="2754"/>
                    </a:lnTo>
                    <a:lnTo>
                      <a:pt x="995" y="2688"/>
                    </a:lnTo>
                    <a:lnTo>
                      <a:pt x="1002" y="2626"/>
                    </a:lnTo>
                    <a:lnTo>
                      <a:pt x="1011" y="2563"/>
                    </a:lnTo>
                    <a:lnTo>
                      <a:pt x="1022" y="2506"/>
                    </a:lnTo>
                    <a:lnTo>
                      <a:pt x="1036" y="2450"/>
                    </a:lnTo>
                    <a:lnTo>
                      <a:pt x="1051" y="2396"/>
                    </a:lnTo>
                    <a:lnTo>
                      <a:pt x="1070" y="2345"/>
                    </a:lnTo>
                    <a:lnTo>
                      <a:pt x="1070" y="2345"/>
                    </a:lnTo>
                    <a:lnTo>
                      <a:pt x="1085" y="2306"/>
                    </a:lnTo>
                    <a:lnTo>
                      <a:pt x="1102" y="2268"/>
                    </a:lnTo>
                    <a:lnTo>
                      <a:pt x="1123" y="2230"/>
                    </a:lnTo>
                    <a:lnTo>
                      <a:pt x="1146" y="2192"/>
                    </a:lnTo>
                    <a:lnTo>
                      <a:pt x="1169" y="2154"/>
                    </a:lnTo>
                    <a:lnTo>
                      <a:pt x="1196" y="2115"/>
                    </a:lnTo>
                    <a:lnTo>
                      <a:pt x="1225" y="2077"/>
                    </a:lnTo>
                    <a:lnTo>
                      <a:pt x="1256" y="2039"/>
                    </a:lnTo>
                    <a:lnTo>
                      <a:pt x="1256" y="2039"/>
                    </a:lnTo>
                    <a:lnTo>
                      <a:pt x="1283" y="2009"/>
                    </a:lnTo>
                    <a:lnTo>
                      <a:pt x="1312" y="1977"/>
                    </a:lnTo>
                    <a:lnTo>
                      <a:pt x="1348" y="1939"/>
                    </a:lnTo>
                    <a:lnTo>
                      <a:pt x="1388" y="1900"/>
                    </a:lnTo>
                    <a:lnTo>
                      <a:pt x="1483" y="1812"/>
                    </a:lnTo>
                    <a:lnTo>
                      <a:pt x="1596" y="1711"/>
                    </a:lnTo>
                    <a:lnTo>
                      <a:pt x="1596" y="1711"/>
                    </a:lnTo>
                    <a:lnTo>
                      <a:pt x="1654" y="1658"/>
                    </a:lnTo>
                    <a:lnTo>
                      <a:pt x="1708" y="1609"/>
                    </a:lnTo>
                    <a:lnTo>
                      <a:pt x="1755" y="1562"/>
                    </a:lnTo>
                    <a:lnTo>
                      <a:pt x="1798" y="1517"/>
                    </a:lnTo>
                    <a:lnTo>
                      <a:pt x="1835" y="1475"/>
                    </a:lnTo>
                    <a:lnTo>
                      <a:pt x="1866" y="1436"/>
                    </a:lnTo>
                    <a:lnTo>
                      <a:pt x="1893" y="1401"/>
                    </a:lnTo>
                    <a:lnTo>
                      <a:pt x="1915" y="1366"/>
                    </a:lnTo>
                    <a:lnTo>
                      <a:pt x="1915" y="1366"/>
                    </a:lnTo>
                    <a:lnTo>
                      <a:pt x="1932" y="1334"/>
                    </a:lnTo>
                    <a:lnTo>
                      <a:pt x="1946" y="1301"/>
                    </a:lnTo>
                    <a:lnTo>
                      <a:pt x="1960" y="1267"/>
                    </a:lnTo>
                    <a:lnTo>
                      <a:pt x="1969" y="1233"/>
                    </a:lnTo>
                    <a:lnTo>
                      <a:pt x="1977" y="1197"/>
                    </a:lnTo>
                    <a:lnTo>
                      <a:pt x="1983" y="1160"/>
                    </a:lnTo>
                    <a:lnTo>
                      <a:pt x="1986" y="1123"/>
                    </a:lnTo>
                    <a:lnTo>
                      <a:pt x="1988" y="1085"/>
                    </a:lnTo>
                    <a:lnTo>
                      <a:pt x="1988" y="1085"/>
                    </a:lnTo>
                    <a:lnTo>
                      <a:pt x="1986" y="1051"/>
                    </a:lnTo>
                    <a:lnTo>
                      <a:pt x="1984" y="1017"/>
                    </a:lnTo>
                    <a:lnTo>
                      <a:pt x="1980" y="984"/>
                    </a:lnTo>
                    <a:lnTo>
                      <a:pt x="1974" y="952"/>
                    </a:lnTo>
                    <a:lnTo>
                      <a:pt x="1967" y="919"/>
                    </a:lnTo>
                    <a:lnTo>
                      <a:pt x="1958" y="888"/>
                    </a:lnTo>
                    <a:lnTo>
                      <a:pt x="1947" y="857"/>
                    </a:lnTo>
                    <a:lnTo>
                      <a:pt x="1935" y="826"/>
                    </a:lnTo>
                    <a:lnTo>
                      <a:pt x="1919" y="797"/>
                    </a:lnTo>
                    <a:lnTo>
                      <a:pt x="1904" y="767"/>
                    </a:lnTo>
                    <a:lnTo>
                      <a:pt x="1887" y="738"/>
                    </a:lnTo>
                    <a:lnTo>
                      <a:pt x="1866" y="710"/>
                    </a:lnTo>
                    <a:lnTo>
                      <a:pt x="1846" y="682"/>
                    </a:lnTo>
                    <a:lnTo>
                      <a:pt x="1823" y="654"/>
                    </a:lnTo>
                    <a:lnTo>
                      <a:pt x="1800" y="627"/>
                    </a:lnTo>
                    <a:lnTo>
                      <a:pt x="1773" y="601"/>
                    </a:lnTo>
                    <a:lnTo>
                      <a:pt x="1773" y="601"/>
                    </a:lnTo>
                    <a:lnTo>
                      <a:pt x="1747" y="576"/>
                    </a:lnTo>
                    <a:lnTo>
                      <a:pt x="1719" y="551"/>
                    </a:lnTo>
                    <a:lnTo>
                      <a:pt x="1689" y="529"/>
                    </a:lnTo>
                    <a:lnTo>
                      <a:pt x="1660" y="509"/>
                    </a:lnTo>
                    <a:lnTo>
                      <a:pt x="1630" y="491"/>
                    </a:lnTo>
                    <a:lnTo>
                      <a:pt x="1599" y="474"/>
                    </a:lnTo>
                    <a:lnTo>
                      <a:pt x="1568" y="458"/>
                    </a:lnTo>
                    <a:lnTo>
                      <a:pt x="1536" y="444"/>
                    </a:lnTo>
                    <a:lnTo>
                      <a:pt x="1502" y="432"/>
                    </a:lnTo>
                    <a:lnTo>
                      <a:pt x="1469" y="421"/>
                    </a:lnTo>
                    <a:lnTo>
                      <a:pt x="1433" y="411"/>
                    </a:lnTo>
                    <a:lnTo>
                      <a:pt x="1397" y="405"/>
                    </a:lnTo>
                    <a:lnTo>
                      <a:pt x="1362" y="399"/>
                    </a:lnTo>
                    <a:lnTo>
                      <a:pt x="1325" y="394"/>
                    </a:lnTo>
                    <a:lnTo>
                      <a:pt x="1287" y="393"/>
                    </a:lnTo>
                    <a:lnTo>
                      <a:pt x="1248" y="391"/>
                    </a:lnTo>
                    <a:lnTo>
                      <a:pt x="1248" y="391"/>
                    </a:lnTo>
                    <a:lnTo>
                      <a:pt x="1211" y="393"/>
                    </a:lnTo>
                    <a:lnTo>
                      <a:pt x="1175" y="394"/>
                    </a:lnTo>
                    <a:lnTo>
                      <a:pt x="1140" y="399"/>
                    </a:lnTo>
                    <a:lnTo>
                      <a:pt x="1106" y="404"/>
                    </a:lnTo>
                    <a:lnTo>
                      <a:pt x="1071" y="410"/>
                    </a:lnTo>
                    <a:lnTo>
                      <a:pt x="1037" y="418"/>
                    </a:lnTo>
                    <a:lnTo>
                      <a:pt x="1005" y="429"/>
                    </a:lnTo>
                    <a:lnTo>
                      <a:pt x="974" y="439"/>
                    </a:lnTo>
                    <a:lnTo>
                      <a:pt x="943" y="452"/>
                    </a:lnTo>
                    <a:lnTo>
                      <a:pt x="913" y="466"/>
                    </a:lnTo>
                    <a:lnTo>
                      <a:pt x="884" y="481"/>
                    </a:lnTo>
                    <a:lnTo>
                      <a:pt x="854" y="498"/>
                    </a:lnTo>
                    <a:lnTo>
                      <a:pt x="826" y="517"/>
                    </a:lnTo>
                    <a:lnTo>
                      <a:pt x="800" y="537"/>
                    </a:lnTo>
                    <a:lnTo>
                      <a:pt x="773" y="559"/>
                    </a:lnTo>
                    <a:lnTo>
                      <a:pt x="748" y="581"/>
                    </a:lnTo>
                    <a:lnTo>
                      <a:pt x="748" y="581"/>
                    </a:lnTo>
                    <a:lnTo>
                      <a:pt x="724" y="606"/>
                    </a:lnTo>
                    <a:lnTo>
                      <a:pt x="700" y="632"/>
                    </a:lnTo>
                    <a:lnTo>
                      <a:pt x="677" y="660"/>
                    </a:lnTo>
                    <a:lnTo>
                      <a:pt x="657" y="689"/>
                    </a:lnTo>
                    <a:lnTo>
                      <a:pt x="637" y="720"/>
                    </a:lnTo>
                    <a:lnTo>
                      <a:pt x="616" y="753"/>
                    </a:lnTo>
                    <a:lnTo>
                      <a:pt x="599" y="789"/>
                    </a:lnTo>
                    <a:lnTo>
                      <a:pt x="582" y="824"/>
                    </a:lnTo>
                    <a:lnTo>
                      <a:pt x="565" y="862"/>
                    </a:lnTo>
                    <a:lnTo>
                      <a:pt x="551" y="902"/>
                    </a:lnTo>
                    <a:lnTo>
                      <a:pt x="537" y="942"/>
                    </a:lnTo>
                    <a:lnTo>
                      <a:pt x="525" y="986"/>
                    </a:lnTo>
                    <a:lnTo>
                      <a:pt x="512" y="1031"/>
                    </a:lnTo>
                    <a:lnTo>
                      <a:pt x="502" y="1078"/>
                    </a:lnTo>
                    <a:lnTo>
                      <a:pt x="492" y="1124"/>
                    </a:lnTo>
                    <a:lnTo>
                      <a:pt x="484" y="1174"/>
                    </a:lnTo>
                    <a:lnTo>
                      <a:pt x="0" y="1112"/>
                    </a:lnTo>
                    <a:lnTo>
                      <a:pt x="0" y="1112"/>
                    </a:lnTo>
                    <a:lnTo>
                      <a:pt x="9" y="1047"/>
                    </a:lnTo>
                    <a:lnTo>
                      <a:pt x="20" y="981"/>
                    </a:lnTo>
                    <a:lnTo>
                      <a:pt x="34" y="919"/>
                    </a:lnTo>
                    <a:lnTo>
                      <a:pt x="48" y="859"/>
                    </a:lnTo>
                    <a:lnTo>
                      <a:pt x="65" y="800"/>
                    </a:lnTo>
                    <a:lnTo>
                      <a:pt x="85" y="744"/>
                    </a:lnTo>
                    <a:lnTo>
                      <a:pt x="107" y="689"/>
                    </a:lnTo>
                    <a:lnTo>
                      <a:pt x="129" y="637"/>
                    </a:lnTo>
                    <a:lnTo>
                      <a:pt x="155" y="585"/>
                    </a:lnTo>
                    <a:lnTo>
                      <a:pt x="182" y="537"/>
                    </a:lnTo>
                    <a:lnTo>
                      <a:pt x="211" y="491"/>
                    </a:lnTo>
                    <a:lnTo>
                      <a:pt x="242" y="446"/>
                    </a:lnTo>
                    <a:lnTo>
                      <a:pt x="276" y="404"/>
                    </a:lnTo>
                    <a:lnTo>
                      <a:pt x="312" y="362"/>
                    </a:lnTo>
                    <a:lnTo>
                      <a:pt x="349" y="323"/>
                    </a:lnTo>
                    <a:lnTo>
                      <a:pt x="388" y="287"/>
                    </a:lnTo>
                    <a:lnTo>
                      <a:pt x="388" y="287"/>
                    </a:lnTo>
                    <a:lnTo>
                      <a:pt x="429" y="252"/>
                    </a:lnTo>
                    <a:lnTo>
                      <a:pt x="472" y="220"/>
                    </a:lnTo>
                    <a:lnTo>
                      <a:pt x="517" y="189"/>
                    </a:lnTo>
                    <a:lnTo>
                      <a:pt x="562" y="161"/>
                    </a:lnTo>
                    <a:lnTo>
                      <a:pt x="610" y="137"/>
                    </a:lnTo>
                    <a:lnTo>
                      <a:pt x="660" y="112"/>
                    </a:lnTo>
                    <a:lnTo>
                      <a:pt x="710" y="92"/>
                    </a:lnTo>
                    <a:lnTo>
                      <a:pt x="762" y="71"/>
                    </a:lnTo>
                    <a:lnTo>
                      <a:pt x="817" y="56"/>
                    </a:lnTo>
                    <a:lnTo>
                      <a:pt x="873" y="40"/>
                    </a:lnTo>
                    <a:lnTo>
                      <a:pt x="930" y="28"/>
                    </a:lnTo>
                    <a:lnTo>
                      <a:pt x="989" y="19"/>
                    </a:lnTo>
                    <a:lnTo>
                      <a:pt x="1050" y="11"/>
                    </a:lnTo>
                    <a:lnTo>
                      <a:pt x="1112" y="5"/>
                    </a:lnTo>
                    <a:lnTo>
                      <a:pt x="1175" y="2"/>
                    </a:lnTo>
                    <a:lnTo>
                      <a:pt x="1241" y="0"/>
                    </a:lnTo>
                    <a:lnTo>
                      <a:pt x="1241" y="0"/>
                    </a:lnTo>
                    <a:lnTo>
                      <a:pt x="1311" y="2"/>
                    </a:lnTo>
                    <a:lnTo>
                      <a:pt x="1379" y="5"/>
                    </a:lnTo>
                    <a:lnTo>
                      <a:pt x="1444" y="11"/>
                    </a:lnTo>
                    <a:lnTo>
                      <a:pt x="1508" y="20"/>
                    </a:lnTo>
                    <a:lnTo>
                      <a:pt x="1570" y="31"/>
                    </a:lnTo>
                    <a:lnTo>
                      <a:pt x="1630" y="43"/>
                    </a:lnTo>
                    <a:lnTo>
                      <a:pt x="1689" y="59"/>
                    </a:lnTo>
                    <a:lnTo>
                      <a:pt x="1747" y="78"/>
                    </a:lnTo>
                    <a:lnTo>
                      <a:pt x="1801" y="98"/>
                    </a:lnTo>
                    <a:lnTo>
                      <a:pt x="1854" y="121"/>
                    </a:lnTo>
                    <a:lnTo>
                      <a:pt x="1907" y="146"/>
                    </a:lnTo>
                    <a:lnTo>
                      <a:pt x="1956" y="174"/>
                    </a:lnTo>
                    <a:lnTo>
                      <a:pt x="2005" y="203"/>
                    </a:lnTo>
                    <a:lnTo>
                      <a:pt x="2050" y="236"/>
                    </a:lnTo>
                    <a:lnTo>
                      <a:pt x="2095" y="270"/>
                    </a:lnTo>
                    <a:lnTo>
                      <a:pt x="2138" y="307"/>
                    </a:lnTo>
                    <a:lnTo>
                      <a:pt x="2138" y="307"/>
                    </a:lnTo>
                    <a:lnTo>
                      <a:pt x="2179" y="348"/>
                    </a:lnTo>
                    <a:lnTo>
                      <a:pt x="2216" y="387"/>
                    </a:lnTo>
                    <a:lnTo>
                      <a:pt x="2252" y="429"/>
                    </a:lnTo>
                    <a:lnTo>
                      <a:pt x="2284" y="470"/>
                    </a:lnTo>
                    <a:lnTo>
                      <a:pt x="2314" y="512"/>
                    </a:lnTo>
                    <a:lnTo>
                      <a:pt x="2342" y="557"/>
                    </a:lnTo>
                    <a:lnTo>
                      <a:pt x="2366" y="602"/>
                    </a:lnTo>
                    <a:lnTo>
                      <a:pt x="2388" y="647"/>
                    </a:lnTo>
                    <a:lnTo>
                      <a:pt x="2408" y="696"/>
                    </a:lnTo>
                    <a:lnTo>
                      <a:pt x="2425" y="742"/>
                    </a:lnTo>
                    <a:lnTo>
                      <a:pt x="2439" y="792"/>
                    </a:lnTo>
                    <a:lnTo>
                      <a:pt x="2452" y="842"/>
                    </a:lnTo>
                    <a:lnTo>
                      <a:pt x="2460" y="893"/>
                    </a:lnTo>
                    <a:lnTo>
                      <a:pt x="2467" y="946"/>
                    </a:lnTo>
                    <a:lnTo>
                      <a:pt x="2470" y="998"/>
                    </a:lnTo>
                    <a:lnTo>
                      <a:pt x="2472" y="1053"/>
                    </a:lnTo>
                    <a:lnTo>
                      <a:pt x="2472" y="1053"/>
                    </a:lnTo>
                    <a:lnTo>
                      <a:pt x="2472" y="1084"/>
                    </a:lnTo>
                    <a:lnTo>
                      <a:pt x="2470" y="1115"/>
                    </a:lnTo>
                    <a:lnTo>
                      <a:pt x="2467" y="1146"/>
                    </a:lnTo>
                    <a:lnTo>
                      <a:pt x="2464" y="1175"/>
                    </a:lnTo>
                    <a:lnTo>
                      <a:pt x="2461" y="1206"/>
                    </a:lnTo>
                    <a:lnTo>
                      <a:pt x="2455" y="1236"/>
                    </a:lnTo>
                    <a:lnTo>
                      <a:pt x="2449" y="1265"/>
                    </a:lnTo>
                    <a:lnTo>
                      <a:pt x="2442" y="1295"/>
                    </a:lnTo>
                    <a:lnTo>
                      <a:pt x="2435" y="1323"/>
                    </a:lnTo>
                    <a:lnTo>
                      <a:pt x="2425" y="1352"/>
                    </a:lnTo>
                    <a:lnTo>
                      <a:pt x="2416" y="1380"/>
                    </a:lnTo>
                    <a:lnTo>
                      <a:pt x="2405" y="1408"/>
                    </a:lnTo>
                    <a:lnTo>
                      <a:pt x="2394" y="1436"/>
                    </a:lnTo>
                    <a:lnTo>
                      <a:pt x="2382" y="1464"/>
                    </a:lnTo>
                    <a:lnTo>
                      <a:pt x="2368" y="1491"/>
                    </a:lnTo>
                    <a:lnTo>
                      <a:pt x="2354" y="1517"/>
                    </a:lnTo>
                    <a:lnTo>
                      <a:pt x="2354" y="1517"/>
                    </a:lnTo>
                    <a:lnTo>
                      <a:pt x="2338" y="1545"/>
                    </a:lnTo>
                    <a:lnTo>
                      <a:pt x="2321" y="1573"/>
                    </a:lnTo>
                    <a:lnTo>
                      <a:pt x="2301" y="1601"/>
                    </a:lnTo>
                    <a:lnTo>
                      <a:pt x="2281" y="1630"/>
                    </a:lnTo>
                    <a:lnTo>
                      <a:pt x="2258" y="1660"/>
                    </a:lnTo>
                    <a:lnTo>
                      <a:pt x="2234" y="1689"/>
                    </a:lnTo>
                    <a:lnTo>
                      <a:pt x="2180" y="1753"/>
                    </a:lnTo>
                    <a:lnTo>
                      <a:pt x="2118" y="1818"/>
                    </a:lnTo>
                    <a:lnTo>
                      <a:pt x="2050" y="1888"/>
                    </a:lnTo>
                    <a:lnTo>
                      <a:pt x="1975" y="1959"/>
                    </a:lnTo>
                    <a:lnTo>
                      <a:pt x="1893" y="2034"/>
                    </a:lnTo>
                    <a:lnTo>
                      <a:pt x="1893" y="2034"/>
                    </a:lnTo>
                    <a:lnTo>
                      <a:pt x="1787" y="2129"/>
                    </a:lnTo>
                    <a:lnTo>
                      <a:pt x="1742" y="2171"/>
                    </a:lnTo>
                    <a:lnTo>
                      <a:pt x="1702" y="2211"/>
                    </a:lnTo>
                    <a:lnTo>
                      <a:pt x="1666" y="2247"/>
                    </a:lnTo>
                    <a:lnTo>
                      <a:pt x="1637" y="2279"/>
                    </a:lnTo>
                    <a:lnTo>
                      <a:pt x="1612" y="2307"/>
                    </a:lnTo>
                    <a:lnTo>
                      <a:pt x="1592" y="2334"/>
                    </a:lnTo>
                    <a:lnTo>
                      <a:pt x="1592" y="2334"/>
                    </a:lnTo>
                    <a:lnTo>
                      <a:pt x="1575" y="2359"/>
                    </a:lnTo>
                    <a:lnTo>
                      <a:pt x="1559" y="2383"/>
                    </a:lnTo>
                    <a:lnTo>
                      <a:pt x="1543" y="2410"/>
                    </a:lnTo>
                    <a:lnTo>
                      <a:pt x="1529" y="2438"/>
                    </a:lnTo>
                    <a:lnTo>
                      <a:pt x="1517" y="2466"/>
                    </a:lnTo>
                    <a:lnTo>
                      <a:pt x="1506" y="2495"/>
                    </a:lnTo>
                    <a:lnTo>
                      <a:pt x="1495" y="2525"/>
                    </a:lnTo>
                    <a:lnTo>
                      <a:pt x="1486" y="2556"/>
                    </a:lnTo>
                    <a:lnTo>
                      <a:pt x="1486" y="2556"/>
                    </a:lnTo>
                    <a:lnTo>
                      <a:pt x="1478" y="2590"/>
                    </a:lnTo>
                    <a:lnTo>
                      <a:pt x="1472" y="2629"/>
                    </a:lnTo>
                    <a:lnTo>
                      <a:pt x="1464" y="2672"/>
                    </a:lnTo>
                    <a:lnTo>
                      <a:pt x="1460" y="2720"/>
                    </a:lnTo>
                    <a:lnTo>
                      <a:pt x="1455" y="2773"/>
                    </a:lnTo>
                    <a:lnTo>
                      <a:pt x="1452" y="2832"/>
                    </a:lnTo>
                    <a:lnTo>
                      <a:pt x="1449" y="2894"/>
                    </a:lnTo>
                    <a:lnTo>
                      <a:pt x="1447" y="2963"/>
                    </a:lnTo>
                    <a:lnTo>
                      <a:pt x="994" y="2963"/>
                    </a:lnTo>
                    <a:close/>
                    <a:moveTo>
                      <a:pt x="988" y="3832"/>
                    </a:moveTo>
                    <a:lnTo>
                      <a:pt x="988" y="3366"/>
                    </a:lnTo>
                    <a:lnTo>
                      <a:pt x="1453" y="3366"/>
                    </a:lnTo>
                    <a:lnTo>
                      <a:pt x="1453" y="3832"/>
                    </a:lnTo>
                    <a:lnTo>
                      <a:pt x="988" y="383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3662363" y="5153025"/>
            <a:ext cx="7342559" cy="814127"/>
            <a:chOff x="3662363" y="5153025"/>
            <a:chExt cx="7342559" cy="814127"/>
          </a:xfrm>
        </p:grpSpPr>
        <p:grpSp>
          <p:nvGrpSpPr>
            <p:cNvPr id="22" name="Group 21"/>
            <p:cNvGrpSpPr/>
            <p:nvPr/>
          </p:nvGrpSpPr>
          <p:grpSpPr>
            <a:xfrm>
              <a:off x="6940550" y="5153025"/>
              <a:ext cx="4064372" cy="814127"/>
              <a:chOff x="6940550" y="5153025"/>
              <a:chExt cx="4064372" cy="814127"/>
            </a:xfrm>
          </p:grpSpPr>
          <p:grpSp>
            <p:nvGrpSpPr>
              <p:cNvPr id="61" name="Group 60"/>
              <p:cNvGrpSpPr/>
              <p:nvPr/>
            </p:nvGrpSpPr>
            <p:grpSpPr>
              <a:xfrm>
                <a:off x="6940550" y="5153025"/>
                <a:ext cx="814129" cy="814127"/>
                <a:chOff x="6357555" y="4044944"/>
                <a:chExt cx="814129" cy="814127"/>
              </a:xfrm>
            </p:grpSpPr>
            <p:sp>
              <p:nvSpPr>
                <p:cNvPr id="391" name="Oval 390"/>
                <p:cNvSpPr/>
                <p:nvPr/>
              </p:nvSpPr>
              <p:spPr>
                <a:xfrm>
                  <a:off x="6357555" y="4044944"/>
                  <a:ext cx="814129" cy="814127"/>
                </a:xfrm>
                <a:prstGeom prst="ellipse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6" name="Freeform 197"/>
                <p:cNvSpPr>
                  <a:spLocks/>
                </p:cNvSpPr>
                <p:nvPr/>
              </p:nvSpPr>
              <p:spPr bwMode="auto">
                <a:xfrm>
                  <a:off x="6451337" y="4162204"/>
                  <a:ext cx="344775" cy="344772"/>
                </a:xfrm>
                <a:custGeom>
                  <a:avLst/>
                  <a:gdLst>
                    <a:gd name="T0" fmla="*/ 210 w 217"/>
                    <a:gd name="T1" fmla="*/ 7 h 217"/>
                    <a:gd name="T2" fmla="*/ 209 w 217"/>
                    <a:gd name="T3" fmla="*/ 34 h 217"/>
                    <a:gd name="T4" fmla="*/ 34 w 217"/>
                    <a:gd name="T5" fmla="*/ 209 h 217"/>
                    <a:gd name="T6" fmla="*/ 8 w 217"/>
                    <a:gd name="T7" fmla="*/ 210 h 217"/>
                    <a:gd name="T8" fmla="*/ 8 w 217"/>
                    <a:gd name="T9" fmla="*/ 183 h 217"/>
                    <a:gd name="T10" fmla="*/ 183 w 217"/>
                    <a:gd name="T11" fmla="*/ 8 h 217"/>
                    <a:gd name="T12" fmla="*/ 210 w 217"/>
                    <a:gd name="T13" fmla="*/ 7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7" h="217">
                      <a:moveTo>
                        <a:pt x="210" y="7"/>
                      </a:moveTo>
                      <a:cubicBezTo>
                        <a:pt x="217" y="15"/>
                        <a:pt x="217" y="27"/>
                        <a:pt x="209" y="34"/>
                      </a:cubicBezTo>
                      <a:cubicBezTo>
                        <a:pt x="34" y="209"/>
                        <a:pt x="34" y="209"/>
                        <a:pt x="34" y="209"/>
                      </a:cubicBezTo>
                      <a:cubicBezTo>
                        <a:pt x="27" y="217"/>
                        <a:pt x="15" y="217"/>
                        <a:pt x="8" y="210"/>
                      </a:cubicBezTo>
                      <a:cubicBezTo>
                        <a:pt x="0" y="202"/>
                        <a:pt x="0" y="190"/>
                        <a:pt x="8" y="183"/>
                      </a:cubicBezTo>
                      <a:cubicBezTo>
                        <a:pt x="183" y="8"/>
                        <a:pt x="183" y="8"/>
                        <a:pt x="183" y="8"/>
                      </a:cubicBezTo>
                      <a:cubicBezTo>
                        <a:pt x="191" y="0"/>
                        <a:pt x="203" y="0"/>
                        <a:pt x="210" y="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517" name="Freeform 198"/>
                <p:cNvSpPr>
                  <a:spLocks/>
                </p:cNvSpPr>
                <p:nvPr/>
              </p:nvSpPr>
              <p:spPr bwMode="auto">
                <a:xfrm>
                  <a:off x="6733125" y="4162204"/>
                  <a:ext cx="344775" cy="344772"/>
                </a:xfrm>
                <a:custGeom>
                  <a:avLst/>
                  <a:gdLst>
                    <a:gd name="T0" fmla="*/ 7 w 217"/>
                    <a:gd name="T1" fmla="*/ 7 h 217"/>
                    <a:gd name="T2" fmla="*/ 8 w 217"/>
                    <a:gd name="T3" fmla="*/ 34 h 217"/>
                    <a:gd name="T4" fmla="*/ 183 w 217"/>
                    <a:gd name="T5" fmla="*/ 209 h 217"/>
                    <a:gd name="T6" fmla="*/ 209 w 217"/>
                    <a:gd name="T7" fmla="*/ 210 h 217"/>
                    <a:gd name="T8" fmla="*/ 209 w 217"/>
                    <a:gd name="T9" fmla="*/ 183 h 217"/>
                    <a:gd name="T10" fmla="*/ 34 w 217"/>
                    <a:gd name="T11" fmla="*/ 8 h 217"/>
                    <a:gd name="T12" fmla="*/ 7 w 217"/>
                    <a:gd name="T13" fmla="*/ 7 h 2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7" h="217">
                      <a:moveTo>
                        <a:pt x="7" y="7"/>
                      </a:moveTo>
                      <a:cubicBezTo>
                        <a:pt x="0" y="15"/>
                        <a:pt x="0" y="27"/>
                        <a:pt x="8" y="34"/>
                      </a:cubicBezTo>
                      <a:cubicBezTo>
                        <a:pt x="183" y="209"/>
                        <a:pt x="183" y="209"/>
                        <a:pt x="183" y="209"/>
                      </a:cubicBezTo>
                      <a:cubicBezTo>
                        <a:pt x="190" y="217"/>
                        <a:pt x="202" y="217"/>
                        <a:pt x="209" y="210"/>
                      </a:cubicBezTo>
                      <a:cubicBezTo>
                        <a:pt x="217" y="202"/>
                        <a:pt x="217" y="190"/>
                        <a:pt x="209" y="183"/>
                      </a:cubicBezTo>
                      <a:cubicBezTo>
                        <a:pt x="34" y="8"/>
                        <a:pt x="34" y="8"/>
                        <a:pt x="34" y="8"/>
                      </a:cubicBezTo>
                      <a:cubicBezTo>
                        <a:pt x="26" y="0"/>
                        <a:pt x="14" y="0"/>
                        <a:pt x="7" y="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518" name="Freeform 199"/>
                <p:cNvSpPr>
                  <a:spLocks/>
                </p:cNvSpPr>
                <p:nvPr/>
              </p:nvSpPr>
              <p:spPr bwMode="auto">
                <a:xfrm>
                  <a:off x="6547477" y="4283207"/>
                  <a:ext cx="429313" cy="455829"/>
                </a:xfrm>
                <a:custGeom>
                  <a:avLst/>
                  <a:gdLst>
                    <a:gd name="T0" fmla="*/ 263 w 269"/>
                    <a:gd name="T1" fmla="*/ 126 h 286"/>
                    <a:gd name="T2" fmla="*/ 141 w 269"/>
                    <a:gd name="T3" fmla="*/ 4 h 286"/>
                    <a:gd name="T4" fmla="*/ 128 w 269"/>
                    <a:gd name="T5" fmla="*/ 4 h 286"/>
                    <a:gd name="T6" fmla="*/ 6 w 269"/>
                    <a:gd name="T7" fmla="*/ 126 h 286"/>
                    <a:gd name="T8" fmla="*/ 0 w 269"/>
                    <a:gd name="T9" fmla="*/ 141 h 286"/>
                    <a:gd name="T10" fmla="*/ 0 w 269"/>
                    <a:gd name="T11" fmla="*/ 277 h 286"/>
                    <a:gd name="T12" fmla="*/ 9 w 269"/>
                    <a:gd name="T13" fmla="*/ 286 h 286"/>
                    <a:gd name="T14" fmla="*/ 260 w 269"/>
                    <a:gd name="T15" fmla="*/ 286 h 286"/>
                    <a:gd name="T16" fmla="*/ 269 w 269"/>
                    <a:gd name="T17" fmla="*/ 277 h 286"/>
                    <a:gd name="T18" fmla="*/ 269 w 269"/>
                    <a:gd name="T19" fmla="*/ 141 h 286"/>
                    <a:gd name="T20" fmla="*/ 263 w 269"/>
                    <a:gd name="T21" fmla="*/ 126 h 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69" h="286">
                      <a:moveTo>
                        <a:pt x="263" y="126"/>
                      </a:moveTo>
                      <a:cubicBezTo>
                        <a:pt x="141" y="4"/>
                        <a:pt x="141" y="4"/>
                        <a:pt x="141" y="4"/>
                      </a:cubicBezTo>
                      <a:cubicBezTo>
                        <a:pt x="137" y="0"/>
                        <a:pt x="132" y="0"/>
                        <a:pt x="128" y="4"/>
                      </a:cubicBezTo>
                      <a:cubicBezTo>
                        <a:pt x="6" y="126"/>
                        <a:pt x="6" y="126"/>
                        <a:pt x="6" y="126"/>
                      </a:cubicBezTo>
                      <a:cubicBezTo>
                        <a:pt x="3" y="129"/>
                        <a:pt x="0" y="136"/>
                        <a:pt x="0" y="141"/>
                      </a:cubicBezTo>
                      <a:cubicBezTo>
                        <a:pt x="0" y="277"/>
                        <a:pt x="0" y="277"/>
                        <a:pt x="0" y="277"/>
                      </a:cubicBezTo>
                      <a:cubicBezTo>
                        <a:pt x="0" y="282"/>
                        <a:pt x="4" y="286"/>
                        <a:pt x="9" y="286"/>
                      </a:cubicBezTo>
                      <a:cubicBezTo>
                        <a:pt x="260" y="286"/>
                        <a:pt x="260" y="286"/>
                        <a:pt x="260" y="286"/>
                      </a:cubicBezTo>
                      <a:cubicBezTo>
                        <a:pt x="265" y="286"/>
                        <a:pt x="269" y="282"/>
                        <a:pt x="269" y="277"/>
                      </a:cubicBezTo>
                      <a:cubicBezTo>
                        <a:pt x="269" y="141"/>
                        <a:pt x="269" y="141"/>
                        <a:pt x="269" y="141"/>
                      </a:cubicBezTo>
                      <a:cubicBezTo>
                        <a:pt x="269" y="136"/>
                        <a:pt x="266" y="129"/>
                        <a:pt x="263" y="12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587" name="Freeform 194"/>
                <p:cNvSpPr>
                  <a:spLocks noEditPoints="1"/>
                </p:cNvSpPr>
                <p:nvPr/>
              </p:nvSpPr>
              <p:spPr bwMode="auto">
                <a:xfrm>
                  <a:off x="6684316" y="4410515"/>
                  <a:ext cx="135811" cy="256018"/>
                </a:xfrm>
                <a:custGeom>
                  <a:avLst/>
                  <a:gdLst>
                    <a:gd name="T0" fmla="*/ 921 w 4438"/>
                    <a:gd name="T1" fmla="*/ 7702 h 8366"/>
                    <a:gd name="T2" fmla="*/ 528 w 4438"/>
                    <a:gd name="T3" fmla="*/ 5792 h 8366"/>
                    <a:gd name="T4" fmla="*/ 1450 w 4438"/>
                    <a:gd name="T5" fmla="*/ 4755 h 8366"/>
                    <a:gd name="T6" fmla="*/ 1477 w 4438"/>
                    <a:gd name="T7" fmla="*/ 628 h 8366"/>
                    <a:gd name="T8" fmla="*/ 2481 w 4438"/>
                    <a:gd name="T9" fmla="*/ 40 h 8366"/>
                    <a:gd name="T10" fmla="*/ 3100 w 4438"/>
                    <a:gd name="T11" fmla="*/ 2748 h 8366"/>
                    <a:gd name="T12" fmla="*/ 3238 w 4438"/>
                    <a:gd name="T13" fmla="*/ 4838 h 8366"/>
                    <a:gd name="T14" fmla="*/ 1975 w 4438"/>
                    <a:gd name="T15" fmla="*/ 8265 h 8366"/>
                    <a:gd name="T16" fmla="*/ 3717 w 4438"/>
                    <a:gd name="T17" fmla="*/ 6425 h 8366"/>
                    <a:gd name="T18" fmla="*/ 2683 w 4438"/>
                    <a:gd name="T19" fmla="*/ 5026 h 8366"/>
                    <a:gd name="T20" fmla="*/ 2571 w 4438"/>
                    <a:gd name="T21" fmla="*/ 556 h 8366"/>
                    <a:gd name="T22" fmla="*/ 1859 w 4438"/>
                    <a:gd name="T23" fmla="*/ 733 h 8366"/>
                    <a:gd name="T24" fmla="*/ 1858 w 4438"/>
                    <a:gd name="T25" fmla="*/ 5029 h 8366"/>
                    <a:gd name="T26" fmla="*/ 875 w 4438"/>
                    <a:gd name="T27" fmla="*/ 6063 h 8366"/>
                    <a:gd name="T28" fmla="*/ 1792 w 4438"/>
                    <a:gd name="T29" fmla="*/ 7795 h 8366"/>
                    <a:gd name="T30" fmla="*/ 2042 w 4438"/>
                    <a:gd name="T31" fmla="*/ 7542 h 8366"/>
                    <a:gd name="T32" fmla="*/ 1158 w 4438"/>
                    <a:gd name="T33" fmla="*/ 6217 h 8366"/>
                    <a:gd name="T34" fmla="*/ 2067 w 4438"/>
                    <a:gd name="T35" fmla="*/ 5307 h 8366"/>
                    <a:gd name="T36" fmla="*/ 2067 w 4438"/>
                    <a:gd name="T37" fmla="*/ 2707 h 8366"/>
                    <a:gd name="T38" fmla="*/ 2475 w 4438"/>
                    <a:gd name="T39" fmla="*/ 2717 h 8366"/>
                    <a:gd name="T40" fmla="*/ 2492 w 4438"/>
                    <a:gd name="T41" fmla="*/ 5314 h 8366"/>
                    <a:gd name="T42" fmla="*/ 3269 w 4438"/>
                    <a:gd name="T43" fmla="*/ 5883 h 8366"/>
                    <a:gd name="T44" fmla="*/ 3270 w 4438"/>
                    <a:gd name="T45" fmla="*/ 6967 h 8366"/>
                    <a:gd name="T46" fmla="*/ 2317 w 4438"/>
                    <a:gd name="T47" fmla="*/ 7550 h 8366"/>
                    <a:gd name="T48" fmla="*/ 0 w 4438"/>
                    <a:gd name="T49" fmla="*/ 4458 h 8366"/>
                    <a:gd name="T50" fmla="*/ 617 w 4438"/>
                    <a:gd name="T51" fmla="*/ 4358 h 8366"/>
                    <a:gd name="T52" fmla="*/ 1233 w 4438"/>
                    <a:gd name="T53" fmla="*/ 4458 h 8366"/>
                    <a:gd name="T54" fmla="*/ 617 w 4438"/>
                    <a:gd name="T55" fmla="*/ 4558 h 8366"/>
                    <a:gd name="T56" fmla="*/ 0 w 4438"/>
                    <a:gd name="T57" fmla="*/ 4458 h 8366"/>
                    <a:gd name="T58" fmla="*/ 425 w 4438"/>
                    <a:gd name="T59" fmla="*/ 3739 h 8366"/>
                    <a:gd name="T60" fmla="*/ 1227 w 4438"/>
                    <a:gd name="T61" fmla="*/ 3746 h 8366"/>
                    <a:gd name="T62" fmla="*/ 1240 w 4438"/>
                    <a:gd name="T63" fmla="*/ 3933 h 8366"/>
                    <a:gd name="T64" fmla="*/ 415 w 4438"/>
                    <a:gd name="T65" fmla="*/ 3942 h 8366"/>
                    <a:gd name="T66" fmla="*/ 0 w 4438"/>
                    <a:gd name="T67" fmla="*/ 3218 h 8366"/>
                    <a:gd name="T68" fmla="*/ 613 w 4438"/>
                    <a:gd name="T69" fmla="*/ 3114 h 8366"/>
                    <a:gd name="T70" fmla="*/ 1225 w 4438"/>
                    <a:gd name="T71" fmla="*/ 3217 h 8366"/>
                    <a:gd name="T72" fmla="*/ 613 w 4438"/>
                    <a:gd name="T73" fmla="*/ 3321 h 8366"/>
                    <a:gd name="T74" fmla="*/ 0 w 4438"/>
                    <a:gd name="T75" fmla="*/ 3218 h 8366"/>
                    <a:gd name="T76" fmla="*/ 425 w 4438"/>
                    <a:gd name="T77" fmla="*/ 2500 h 8366"/>
                    <a:gd name="T78" fmla="*/ 1233 w 4438"/>
                    <a:gd name="T79" fmla="*/ 2491 h 8366"/>
                    <a:gd name="T80" fmla="*/ 1233 w 4438"/>
                    <a:gd name="T81" fmla="*/ 2692 h 8366"/>
                    <a:gd name="T82" fmla="*/ 415 w 4438"/>
                    <a:gd name="T83" fmla="*/ 2692 h 8366"/>
                    <a:gd name="T84" fmla="*/ 0 w 4438"/>
                    <a:gd name="T85" fmla="*/ 1975 h 8366"/>
                    <a:gd name="T86" fmla="*/ 617 w 4438"/>
                    <a:gd name="T87" fmla="*/ 1875 h 8366"/>
                    <a:gd name="T88" fmla="*/ 1233 w 4438"/>
                    <a:gd name="T89" fmla="*/ 1975 h 8366"/>
                    <a:gd name="T90" fmla="*/ 617 w 4438"/>
                    <a:gd name="T91" fmla="*/ 2075 h 8366"/>
                    <a:gd name="T92" fmla="*/ 0 w 4438"/>
                    <a:gd name="T93" fmla="*/ 1975 h 8366"/>
                    <a:gd name="T94" fmla="*/ 417 w 4438"/>
                    <a:gd name="T95" fmla="*/ 1258 h 8366"/>
                    <a:gd name="T96" fmla="*/ 1233 w 4438"/>
                    <a:gd name="T97" fmla="*/ 1258 h 8366"/>
                    <a:gd name="T98" fmla="*/ 1233 w 4438"/>
                    <a:gd name="T99" fmla="*/ 1458 h 8366"/>
                    <a:gd name="T100" fmla="*/ 417 w 4438"/>
                    <a:gd name="T101" fmla="*/ 1458 h 8366"/>
                    <a:gd name="T102" fmla="*/ 0 w 4438"/>
                    <a:gd name="T103" fmla="*/ 733 h 8366"/>
                    <a:gd name="T104" fmla="*/ 599 w 4438"/>
                    <a:gd name="T105" fmla="*/ 625 h 8366"/>
                    <a:gd name="T106" fmla="*/ 1236 w 4438"/>
                    <a:gd name="T107" fmla="*/ 742 h 8366"/>
                    <a:gd name="T108" fmla="*/ 615 w 4438"/>
                    <a:gd name="T109" fmla="*/ 842 h 8366"/>
                    <a:gd name="T110" fmla="*/ 0 w 4438"/>
                    <a:gd name="T111" fmla="*/ 733 h 83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438" h="8366">
                      <a:moveTo>
                        <a:pt x="1975" y="8265"/>
                      </a:moveTo>
                      <a:cubicBezTo>
                        <a:pt x="1564" y="8193"/>
                        <a:pt x="1197" y="7997"/>
                        <a:pt x="921" y="7702"/>
                      </a:cubicBezTo>
                      <a:cubicBezTo>
                        <a:pt x="567" y="7322"/>
                        <a:pt x="400" y="6867"/>
                        <a:pt x="422" y="6342"/>
                      </a:cubicBezTo>
                      <a:cubicBezTo>
                        <a:pt x="432" y="6110"/>
                        <a:pt x="452" y="6009"/>
                        <a:pt x="528" y="5792"/>
                      </a:cubicBezTo>
                      <a:cubicBezTo>
                        <a:pt x="668" y="5394"/>
                        <a:pt x="957" y="5047"/>
                        <a:pt x="1334" y="4824"/>
                      </a:cubicBezTo>
                      <a:lnTo>
                        <a:pt x="1450" y="4755"/>
                      </a:lnTo>
                      <a:lnTo>
                        <a:pt x="1450" y="2738"/>
                      </a:lnTo>
                      <a:cubicBezTo>
                        <a:pt x="1450" y="934"/>
                        <a:pt x="1453" y="712"/>
                        <a:pt x="1477" y="628"/>
                      </a:cubicBezTo>
                      <a:cubicBezTo>
                        <a:pt x="1562" y="327"/>
                        <a:pt x="1792" y="103"/>
                        <a:pt x="2085" y="34"/>
                      </a:cubicBezTo>
                      <a:cubicBezTo>
                        <a:pt x="2228" y="0"/>
                        <a:pt x="2336" y="2"/>
                        <a:pt x="2481" y="40"/>
                      </a:cubicBezTo>
                      <a:cubicBezTo>
                        <a:pt x="2773" y="116"/>
                        <a:pt x="2996" y="345"/>
                        <a:pt x="3075" y="647"/>
                      </a:cubicBezTo>
                      <a:cubicBezTo>
                        <a:pt x="3097" y="730"/>
                        <a:pt x="3100" y="1015"/>
                        <a:pt x="3100" y="2748"/>
                      </a:cubicBezTo>
                      <a:lnTo>
                        <a:pt x="3100" y="4753"/>
                      </a:lnTo>
                      <a:lnTo>
                        <a:pt x="3238" y="4838"/>
                      </a:lnTo>
                      <a:cubicBezTo>
                        <a:pt x="4269" y="5472"/>
                        <a:pt x="4438" y="6888"/>
                        <a:pt x="3584" y="7742"/>
                      </a:cubicBezTo>
                      <a:cubicBezTo>
                        <a:pt x="3159" y="8166"/>
                        <a:pt x="2546" y="8366"/>
                        <a:pt x="1975" y="8265"/>
                      </a:cubicBezTo>
                      <a:close/>
                      <a:moveTo>
                        <a:pt x="2561" y="7849"/>
                      </a:moveTo>
                      <a:cubicBezTo>
                        <a:pt x="3254" y="7691"/>
                        <a:pt x="3717" y="7121"/>
                        <a:pt x="3717" y="6425"/>
                      </a:cubicBezTo>
                      <a:cubicBezTo>
                        <a:pt x="3717" y="5808"/>
                        <a:pt x="3376" y="5320"/>
                        <a:pt x="2763" y="5060"/>
                      </a:cubicBezTo>
                      <a:lnTo>
                        <a:pt x="2683" y="5026"/>
                      </a:lnTo>
                      <a:lnTo>
                        <a:pt x="2683" y="2886"/>
                      </a:lnTo>
                      <a:cubicBezTo>
                        <a:pt x="2683" y="511"/>
                        <a:pt x="2692" y="690"/>
                        <a:pt x="2571" y="556"/>
                      </a:cubicBezTo>
                      <a:cubicBezTo>
                        <a:pt x="2381" y="346"/>
                        <a:pt x="2048" y="391"/>
                        <a:pt x="1907" y="646"/>
                      </a:cubicBezTo>
                      <a:lnTo>
                        <a:pt x="1859" y="733"/>
                      </a:lnTo>
                      <a:lnTo>
                        <a:pt x="1858" y="2881"/>
                      </a:lnTo>
                      <a:lnTo>
                        <a:pt x="1858" y="5029"/>
                      </a:lnTo>
                      <a:lnTo>
                        <a:pt x="1717" y="5090"/>
                      </a:lnTo>
                      <a:cubicBezTo>
                        <a:pt x="1291" y="5274"/>
                        <a:pt x="994" y="5617"/>
                        <a:pt x="875" y="6063"/>
                      </a:cubicBezTo>
                      <a:cubicBezTo>
                        <a:pt x="805" y="6323"/>
                        <a:pt x="820" y="6673"/>
                        <a:pt x="912" y="6925"/>
                      </a:cubicBezTo>
                      <a:cubicBezTo>
                        <a:pt x="1056" y="7319"/>
                        <a:pt x="1408" y="7667"/>
                        <a:pt x="1792" y="7795"/>
                      </a:cubicBezTo>
                      <a:cubicBezTo>
                        <a:pt x="2036" y="7876"/>
                        <a:pt x="2346" y="7898"/>
                        <a:pt x="2561" y="7849"/>
                      </a:cubicBezTo>
                      <a:close/>
                      <a:moveTo>
                        <a:pt x="2042" y="7542"/>
                      </a:moveTo>
                      <a:cubicBezTo>
                        <a:pt x="1653" y="7458"/>
                        <a:pt x="1339" y="7177"/>
                        <a:pt x="1193" y="6783"/>
                      </a:cubicBezTo>
                      <a:cubicBezTo>
                        <a:pt x="1146" y="6659"/>
                        <a:pt x="1129" y="6378"/>
                        <a:pt x="1158" y="6217"/>
                      </a:cubicBezTo>
                      <a:cubicBezTo>
                        <a:pt x="1232" y="5800"/>
                        <a:pt x="1581" y="5429"/>
                        <a:pt x="1996" y="5325"/>
                      </a:cubicBezTo>
                      <a:lnTo>
                        <a:pt x="2067" y="5307"/>
                      </a:lnTo>
                      <a:lnTo>
                        <a:pt x="2067" y="4007"/>
                      </a:lnTo>
                      <a:lnTo>
                        <a:pt x="2067" y="2707"/>
                      </a:lnTo>
                      <a:lnTo>
                        <a:pt x="2271" y="2712"/>
                      </a:lnTo>
                      <a:lnTo>
                        <a:pt x="2475" y="2717"/>
                      </a:lnTo>
                      <a:lnTo>
                        <a:pt x="2483" y="4015"/>
                      </a:lnTo>
                      <a:lnTo>
                        <a:pt x="2492" y="5314"/>
                      </a:lnTo>
                      <a:lnTo>
                        <a:pt x="2581" y="5334"/>
                      </a:lnTo>
                      <a:cubicBezTo>
                        <a:pt x="2834" y="5391"/>
                        <a:pt x="3146" y="5640"/>
                        <a:pt x="3269" y="5883"/>
                      </a:cubicBezTo>
                      <a:cubicBezTo>
                        <a:pt x="3373" y="6090"/>
                        <a:pt x="3392" y="6173"/>
                        <a:pt x="3392" y="6433"/>
                      </a:cubicBezTo>
                      <a:cubicBezTo>
                        <a:pt x="3392" y="6692"/>
                        <a:pt x="3377" y="6756"/>
                        <a:pt x="3270" y="6967"/>
                      </a:cubicBezTo>
                      <a:cubicBezTo>
                        <a:pt x="3193" y="7116"/>
                        <a:pt x="2970" y="7343"/>
                        <a:pt x="2821" y="7422"/>
                      </a:cubicBezTo>
                      <a:cubicBezTo>
                        <a:pt x="2635" y="7520"/>
                        <a:pt x="2544" y="7543"/>
                        <a:pt x="2317" y="7550"/>
                      </a:cubicBezTo>
                      <a:cubicBezTo>
                        <a:pt x="2202" y="7554"/>
                        <a:pt x="2078" y="7550"/>
                        <a:pt x="2042" y="7542"/>
                      </a:cubicBezTo>
                      <a:close/>
                      <a:moveTo>
                        <a:pt x="0" y="4458"/>
                      </a:moveTo>
                      <a:lnTo>
                        <a:pt x="0" y="4358"/>
                      </a:lnTo>
                      <a:lnTo>
                        <a:pt x="617" y="4358"/>
                      </a:lnTo>
                      <a:lnTo>
                        <a:pt x="1233" y="4358"/>
                      </a:lnTo>
                      <a:lnTo>
                        <a:pt x="1233" y="4458"/>
                      </a:lnTo>
                      <a:lnTo>
                        <a:pt x="1233" y="4558"/>
                      </a:lnTo>
                      <a:lnTo>
                        <a:pt x="617" y="4558"/>
                      </a:lnTo>
                      <a:lnTo>
                        <a:pt x="0" y="4558"/>
                      </a:lnTo>
                      <a:lnTo>
                        <a:pt x="0" y="4458"/>
                      </a:lnTo>
                      <a:close/>
                      <a:moveTo>
                        <a:pt x="420" y="3841"/>
                      </a:moveTo>
                      <a:lnTo>
                        <a:pt x="425" y="3739"/>
                      </a:lnTo>
                      <a:lnTo>
                        <a:pt x="824" y="3741"/>
                      </a:lnTo>
                      <a:cubicBezTo>
                        <a:pt x="1044" y="3742"/>
                        <a:pt x="1225" y="3744"/>
                        <a:pt x="1227" y="3746"/>
                      </a:cubicBezTo>
                      <a:cubicBezTo>
                        <a:pt x="1229" y="3748"/>
                        <a:pt x="1233" y="3791"/>
                        <a:pt x="1235" y="3842"/>
                      </a:cubicBezTo>
                      <a:lnTo>
                        <a:pt x="1240" y="3933"/>
                      </a:lnTo>
                      <a:lnTo>
                        <a:pt x="828" y="3938"/>
                      </a:lnTo>
                      <a:lnTo>
                        <a:pt x="415" y="3942"/>
                      </a:lnTo>
                      <a:lnTo>
                        <a:pt x="420" y="3841"/>
                      </a:lnTo>
                      <a:close/>
                      <a:moveTo>
                        <a:pt x="0" y="3218"/>
                      </a:moveTo>
                      <a:lnTo>
                        <a:pt x="0" y="3111"/>
                      </a:lnTo>
                      <a:lnTo>
                        <a:pt x="613" y="3114"/>
                      </a:lnTo>
                      <a:lnTo>
                        <a:pt x="1225" y="3117"/>
                      </a:lnTo>
                      <a:lnTo>
                        <a:pt x="1225" y="3217"/>
                      </a:lnTo>
                      <a:lnTo>
                        <a:pt x="1225" y="3317"/>
                      </a:lnTo>
                      <a:lnTo>
                        <a:pt x="613" y="3321"/>
                      </a:lnTo>
                      <a:lnTo>
                        <a:pt x="0" y="3325"/>
                      </a:lnTo>
                      <a:lnTo>
                        <a:pt x="0" y="3218"/>
                      </a:lnTo>
                      <a:close/>
                      <a:moveTo>
                        <a:pt x="420" y="2596"/>
                      </a:moveTo>
                      <a:lnTo>
                        <a:pt x="425" y="2500"/>
                      </a:lnTo>
                      <a:lnTo>
                        <a:pt x="829" y="2496"/>
                      </a:lnTo>
                      <a:lnTo>
                        <a:pt x="1233" y="2491"/>
                      </a:lnTo>
                      <a:lnTo>
                        <a:pt x="1233" y="2591"/>
                      </a:lnTo>
                      <a:lnTo>
                        <a:pt x="1233" y="2692"/>
                      </a:lnTo>
                      <a:lnTo>
                        <a:pt x="824" y="2692"/>
                      </a:lnTo>
                      <a:lnTo>
                        <a:pt x="415" y="2692"/>
                      </a:lnTo>
                      <a:lnTo>
                        <a:pt x="420" y="2596"/>
                      </a:lnTo>
                      <a:close/>
                      <a:moveTo>
                        <a:pt x="0" y="1975"/>
                      </a:moveTo>
                      <a:lnTo>
                        <a:pt x="0" y="1875"/>
                      </a:lnTo>
                      <a:lnTo>
                        <a:pt x="617" y="1875"/>
                      </a:lnTo>
                      <a:lnTo>
                        <a:pt x="1233" y="1875"/>
                      </a:lnTo>
                      <a:lnTo>
                        <a:pt x="1233" y="1975"/>
                      </a:lnTo>
                      <a:lnTo>
                        <a:pt x="1233" y="2075"/>
                      </a:lnTo>
                      <a:lnTo>
                        <a:pt x="617" y="2075"/>
                      </a:lnTo>
                      <a:lnTo>
                        <a:pt x="0" y="2075"/>
                      </a:lnTo>
                      <a:lnTo>
                        <a:pt x="0" y="1975"/>
                      </a:lnTo>
                      <a:close/>
                      <a:moveTo>
                        <a:pt x="417" y="1358"/>
                      </a:moveTo>
                      <a:lnTo>
                        <a:pt x="417" y="1258"/>
                      </a:lnTo>
                      <a:lnTo>
                        <a:pt x="825" y="1258"/>
                      </a:lnTo>
                      <a:lnTo>
                        <a:pt x="1233" y="1258"/>
                      </a:lnTo>
                      <a:lnTo>
                        <a:pt x="1233" y="1358"/>
                      </a:lnTo>
                      <a:lnTo>
                        <a:pt x="1233" y="1458"/>
                      </a:lnTo>
                      <a:lnTo>
                        <a:pt x="825" y="1458"/>
                      </a:lnTo>
                      <a:lnTo>
                        <a:pt x="417" y="1458"/>
                      </a:lnTo>
                      <a:lnTo>
                        <a:pt x="417" y="1358"/>
                      </a:lnTo>
                      <a:close/>
                      <a:moveTo>
                        <a:pt x="0" y="733"/>
                      </a:moveTo>
                      <a:lnTo>
                        <a:pt x="0" y="625"/>
                      </a:lnTo>
                      <a:lnTo>
                        <a:pt x="599" y="625"/>
                      </a:lnTo>
                      <a:cubicBezTo>
                        <a:pt x="928" y="625"/>
                        <a:pt x="1207" y="629"/>
                        <a:pt x="1219" y="633"/>
                      </a:cubicBezTo>
                      <a:cubicBezTo>
                        <a:pt x="1235" y="640"/>
                        <a:pt x="1240" y="670"/>
                        <a:pt x="1236" y="742"/>
                      </a:cubicBezTo>
                      <a:lnTo>
                        <a:pt x="1230" y="842"/>
                      </a:lnTo>
                      <a:lnTo>
                        <a:pt x="615" y="842"/>
                      </a:lnTo>
                      <a:lnTo>
                        <a:pt x="0" y="842"/>
                      </a:lnTo>
                      <a:lnTo>
                        <a:pt x="0" y="73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</p:grpSp>
          <p:sp>
            <p:nvSpPr>
              <p:cNvPr id="59" name="TextBox 58"/>
              <p:cNvSpPr txBox="1">
                <a:spLocks/>
              </p:cNvSpPr>
              <p:nvPr/>
            </p:nvSpPr>
            <p:spPr>
              <a:xfrm>
                <a:off x="7840663" y="5282327"/>
                <a:ext cx="2647718" cy="492443"/>
              </a:xfrm>
              <a:prstGeom prst="rect">
                <a:avLst/>
              </a:prstGeom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marL="0" lvl="0" indent="0" defTabSz="119386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258246" lvl="1" indent="-256130" defTabSz="1193860" eaLnBrk="1" hangingPunct="1">
                  <a:buClr>
                    <a:schemeClr val="accent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609630" lvl="2" indent="-349268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819192" lvl="3" indent="-207444" defTabSz="1193860" eaLnBrk="1" hangingPunct="1">
                  <a:buClr>
                    <a:schemeClr val="accent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999794" lvl="4" indent="-173575" defTabSz="1193860" eaLnBrk="1" hangingPunct="1">
                  <a:buClr>
                    <a:schemeClr val="accent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accent2"/>
                    </a:solidFill>
                  </a:rPr>
                  <a:t>Faster increase in heat pump penetration</a:t>
                </a:r>
              </a:p>
            </p:txBody>
          </p:sp>
          <p:sp>
            <p:nvSpPr>
              <p:cNvPr id="472" name="Freeform 184"/>
              <p:cNvSpPr>
                <a:spLocks/>
              </p:cNvSpPr>
              <p:nvPr/>
            </p:nvSpPr>
            <p:spPr bwMode="auto">
              <a:xfrm>
                <a:off x="10575908" y="5380038"/>
                <a:ext cx="429014" cy="407000"/>
              </a:xfrm>
              <a:custGeom>
                <a:avLst/>
                <a:gdLst/>
                <a:ahLst/>
                <a:cxnLst/>
                <a:rect l="l" t="t" r="r" b="b"/>
                <a:pathLst>
                  <a:path w="501650" h="477838">
                    <a:moveTo>
                      <a:pt x="181499" y="293675"/>
                    </a:moveTo>
                    <a:cubicBezTo>
                      <a:pt x="181564" y="293705"/>
                      <a:pt x="224625" y="313375"/>
                      <a:pt x="242176" y="321885"/>
                    </a:cubicBezTo>
                    <a:cubicBezTo>
                      <a:pt x="208777" y="373648"/>
                      <a:pt x="184693" y="425144"/>
                      <a:pt x="184693" y="425144"/>
                    </a:cubicBezTo>
                    <a:cubicBezTo>
                      <a:pt x="164733" y="437652"/>
                      <a:pt x="123616" y="465862"/>
                      <a:pt x="112971" y="477838"/>
                    </a:cubicBezTo>
                    <a:cubicBezTo>
                      <a:pt x="108447" y="458677"/>
                      <a:pt x="92346" y="419555"/>
                      <a:pt x="66798" y="364466"/>
                    </a:cubicBezTo>
                    <a:cubicBezTo>
                      <a:pt x="98600" y="341446"/>
                      <a:pt x="130403" y="318425"/>
                      <a:pt x="130403" y="318425"/>
                    </a:cubicBezTo>
                    <a:cubicBezTo>
                      <a:pt x="130423" y="318471"/>
                      <a:pt x="137731" y="334682"/>
                      <a:pt x="145040" y="350894"/>
                    </a:cubicBezTo>
                    <a:cubicBezTo>
                      <a:pt x="162338" y="320821"/>
                      <a:pt x="181499" y="293675"/>
                      <a:pt x="181499" y="293675"/>
                    </a:cubicBezTo>
                    <a:close/>
                    <a:moveTo>
                      <a:pt x="73451" y="249498"/>
                    </a:moveTo>
                    <a:cubicBezTo>
                      <a:pt x="87289" y="250297"/>
                      <a:pt x="100197" y="265865"/>
                      <a:pt x="109644" y="279837"/>
                    </a:cubicBezTo>
                    <a:cubicBezTo>
                      <a:pt x="77310" y="303257"/>
                      <a:pt x="44709" y="326809"/>
                      <a:pt x="44709" y="326809"/>
                    </a:cubicBezTo>
                    <a:cubicBezTo>
                      <a:pt x="44685" y="326770"/>
                      <a:pt x="28587" y="300853"/>
                      <a:pt x="0" y="290615"/>
                    </a:cubicBezTo>
                    <a:cubicBezTo>
                      <a:pt x="21024" y="269724"/>
                      <a:pt x="47104" y="247502"/>
                      <a:pt x="73451" y="249498"/>
                    </a:cubicBezTo>
                    <a:close/>
                    <a:moveTo>
                      <a:pt x="267724" y="185493"/>
                    </a:moveTo>
                    <a:cubicBezTo>
                      <a:pt x="294070" y="197469"/>
                      <a:pt x="320417" y="209977"/>
                      <a:pt x="320417" y="209977"/>
                    </a:cubicBezTo>
                    <a:cubicBezTo>
                      <a:pt x="292873" y="245771"/>
                      <a:pt x="265861" y="285026"/>
                      <a:pt x="265861" y="285026"/>
                    </a:cubicBezTo>
                    <a:cubicBezTo>
                      <a:pt x="265818" y="285007"/>
                      <a:pt x="236699" y="271444"/>
                      <a:pt x="207579" y="257881"/>
                    </a:cubicBezTo>
                    <a:cubicBezTo>
                      <a:pt x="223946" y="234328"/>
                      <a:pt x="263067" y="190682"/>
                      <a:pt x="267724" y="185493"/>
                    </a:cubicBezTo>
                    <a:close/>
                    <a:moveTo>
                      <a:pt x="358873" y="95408"/>
                    </a:moveTo>
                    <a:cubicBezTo>
                      <a:pt x="379098" y="104722"/>
                      <a:pt x="399457" y="114170"/>
                      <a:pt x="399457" y="114170"/>
                    </a:cubicBezTo>
                    <a:cubicBezTo>
                      <a:pt x="373510" y="143311"/>
                      <a:pt x="347961" y="174715"/>
                      <a:pt x="347961" y="174715"/>
                    </a:cubicBezTo>
                    <a:cubicBezTo>
                      <a:pt x="323611" y="163537"/>
                      <a:pt x="299393" y="152360"/>
                      <a:pt x="299393" y="152360"/>
                    </a:cubicBezTo>
                    <a:cubicBezTo>
                      <a:pt x="299430" y="152321"/>
                      <a:pt x="328155" y="122536"/>
                      <a:pt x="358873" y="95408"/>
                    </a:cubicBezTo>
                    <a:close/>
                    <a:moveTo>
                      <a:pt x="489275" y="0"/>
                    </a:moveTo>
                    <a:cubicBezTo>
                      <a:pt x="495396" y="8915"/>
                      <a:pt x="501650" y="17964"/>
                      <a:pt x="501650" y="17964"/>
                    </a:cubicBezTo>
                    <a:cubicBezTo>
                      <a:pt x="468916" y="42182"/>
                      <a:pt x="430993" y="81037"/>
                      <a:pt x="430993" y="81037"/>
                    </a:cubicBezTo>
                    <a:lnTo>
                      <a:pt x="395066" y="64537"/>
                    </a:lnTo>
                    <a:cubicBezTo>
                      <a:pt x="395092" y="64516"/>
                      <a:pt x="440587" y="27005"/>
                      <a:pt x="4892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3175">
                <a:noFill/>
                <a:round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b="1">
                  <a:latin typeface="+mn-lt"/>
                </a:endParaRPr>
              </a:p>
            </p:txBody>
          </p:sp>
        </p:grpSp>
        <p:sp>
          <p:nvSpPr>
            <p:cNvPr id="478" name="Freeform 477"/>
            <p:cNvSpPr/>
            <p:nvPr/>
          </p:nvSpPr>
          <p:spPr>
            <a:xfrm flipV="1">
              <a:off x="3662363" y="5197475"/>
              <a:ext cx="3292046" cy="418132"/>
            </a:xfrm>
            <a:custGeom>
              <a:avLst/>
              <a:gdLst>
                <a:gd name="connsiteX0" fmla="*/ 634314 w 634314"/>
                <a:gd name="connsiteY0" fmla="*/ 0 h 1960606"/>
                <a:gd name="connsiteX1" fmla="*/ 420130 w 634314"/>
                <a:gd name="connsiteY1" fmla="*/ 0 h 1960606"/>
                <a:gd name="connsiteX2" fmla="*/ 420130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554461 w 634314"/>
                <a:gd name="connsiteY1" fmla="*/ 25872 h 1960606"/>
                <a:gd name="connsiteX2" fmla="*/ 420130 w 634314"/>
                <a:gd name="connsiteY2" fmla="*/ 1960606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554461 w 634314"/>
                <a:gd name="connsiteY1" fmla="*/ 25872 h 1960606"/>
                <a:gd name="connsiteX2" fmla="*/ 562727 w 634314"/>
                <a:gd name="connsiteY2" fmla="*/ 1934734 h 1960606"/>
                <a:gd name="connsiteX3" fmla="*/ 0 w 634314"/>
                <a:gd name="connsiteY3" fmla="*/ 1960606 h 1960606"/>
                <a:gd name="connsiteX0" fmla="*/ 634314 w 634314"/>
                <a:gd name="connsiteY0" fmla="*/ 0 h 1960606"/>
                <a:gd name="connsiteX1" fmla="*/ 560661 w 634314"/>
                <a:gd name="connsiteY1" fmla="*/ 16167 h 1960606"/>
                <a:gd name="connsiteX2" fmla="*/ 562727 w 634314"/>
                <a:gd name="connsiteY2" fmla="*/ 1934734 h 1960606"/>
                <a:gd name="connsiteX3" fmla="*/ 0 w 634314"/>
                <a:gd name="connsiteY3" fmla="*/ 1960606 h 1960606"/>
                <a:gd name="connsiteX0" fmla="*/ 1071405 w 1071405"/>
                <a:gd name="connsiteY0" fmla="*/ 0 h 1975261"/>
                <a:gd name="connsiteX1" fmla="*/ 997752 w 1071405"/>
                <a:gd name="connsiteY1" fmla="*/ 16167 h 1975261"/>
                <a:gd name="connsiteX2" fmla="*/ 999818 w 1071405"/>
                <a:gd name="connsiteY2" fmla="*/ 1934734 h 1975261"/>
                <a:gd name="connsiteX3" fmla="*/ 0 w 1071405"/>
                <a:gd name="connsiteY3" fmla="*/ 1975261 h 1975261"/>
                <a:gd name="connsiteX0" fmla="*/ 1071405 w 1071405"/>
                <a:gd name="connsiteY0" fmla="*/ 0 h 1975261"/>
                <a:gd name="connsiteX1" fmla="*/ 997752 w 1071405"/>
                <a:gd name="connsiteY1" fmla="*/ 16167 h 1975261"/>
                <a:gd name="connsiteX2" fmla="*/ 998268 w 1071405"/>
                <a:gd name="connsiteY2" fmla="*/ 1949394 h 1975261"/>
                <a:gd name="connsiteX3" fmla="*/ 0 w 1071405"/>
                <a:gd name="connsiteY3" fmla="*/ 1975261 h 1975261"/>
                <a:gd name="connsiteX0" fmla="*/ 1071405 w 1071405"/>
                <a:gd name="connsiteY0" fmla="*/ 0 h 1975261"/>
                <a:gd name="connsiteX1" fmla="*/ 1028752 w 1071405"/>
                <a:gd name="connsiteY1" fmla="*/ 1508 h 1975261"/>
                <a:gd name="connsiteX2" fmla="*/ 998268 w 1071405"/>
                <a:gd name="connsiteY2" fmla="*/ 1949394 h 1975261"/>
                <a:gd name="connsiteX3" fmla="*/ 0 w 1071405"/>
                <a:gd name="connsiteY3" fmla="*/ 1975261 h 1975261"/>
                <a:gd name="connsiteX0" fmla="*/ 1071405 w 1071405"/>
                <a:gd name="connsiteY0" fmla="*/ 0 h 1975261"/>
                <a:gd name="connsiteX1" fmla="*/ 1028752 w 1071405"/>
                <a:gd name="connsiteY1" fmla="*/ 1508 h 1975261"/>
                <a:gd name="connsiteX2" fmla="*/ 1030817 w 1071405"/>
                <a:gd name="connsiteY2" fmla="*/ 1949394 h 1975261"/>
                <a:gd name="connsiteX3" fmla="*/ 0 w 1071405"/>
                <a:gd name="connsiteY3" fmla="*/ 1975261 h 1975261"/>
                <a:gd name="connsiteX0" fmla="*/ 1071405 w 1071405"/>
                <a:gd name="connsiteY0" fmla="*/ 0 h 1975261"/>
                <a:gd name="connsiteX1" fmla="*/ 1028752 w 1071405"/>
                <a:gd name="connsiteY1" fmla="*/ 1508 h 1975261"/>
                <a:gd name="connsiteX2" fmla="*/ 1030042 w 1071405"/>
                <a:gd name="connsiteY2" fmla="*/ 1949394 h 1975261"/>
                <a:gd name="connsiteX3" fmla="*/ 0 w 1071405"/>
                <a:gd name="connsiteY3" fmla="*/ 1975261 h 197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71405" h="1975261">
                  <a:moveTo>
                    <a:pt x="1071405" y="0"/>
                  </a:moveTo>
                  <a:lnTo>
                    <a:pt x="1028752" y="1508"/>
                  </a:lnTo>
                  <a:cubicBezTo>
                    <a:pt x="1031507" y="637795"/>
                    <a:pt x="1027287" y="1313107"/>
                    <a:pt x="1030042" y="1949394"/>
                  </a:cubicBezTo>
                  <a:lnTo>
                    <a:pt x="0" y="1975261"/>
                  </a:lnTo>
                </a:path>
              </a:pathLst>
            </a:custGeom>
            <a:noFill/>
            <a:ln w="9525">
              <a:solidFill>
                <a:schemeClr val="accent2"/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7" name="5. Source"/>
          <p:cNvSpPr>
            <a:spLocks noChangeArrowheads="1"/>
          </p:cNvSpPr>
          <p:nvPr/>
        </p:nvSpPr>
        <p:spPr bwMode="gray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GB" sz="800" dirty="0">
                <a:solidFill>
                  <a:schemeClr val="accent6"/>
                </a:solidFill>
                <a:latin typeface="+mn-lt"/>
              </a:rPr>
              <a:t>SOURCE: McKinsey Energy Insights’ Global Energy Perspective, July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03919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88"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dirty="0" err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11" name="Shape_21"/>
          <p:cNvCxnSpPr>
            <a:cxnSpLocks/>
          </p:cNvCxnSpPr>
          <p:nvPr/>
        </p:nvCxnSpPr>
        <p:spPr>
          <a:xfrm>
            <a:off x="5905653" y="2047875"/>
            <a:ext cx="0" cy="4124325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hape_3"/>
          <p:cNvSpPr>
            <a:spLocks noGrp="1"/>
          </p:cNvSpPr>
          <p:nvPr>
            <p:ph type="title"/>
          </p:nvPr>
        </p:nvSpPr>
        <p:spPr>
          <a:xfrm>
            <a:off x="475488" y="230188"/>
            <a:ext cx="10969498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However, even with the high renewables growth, emissions will miss current targets by a wide margin</a:t>
            </a:r>
          </a:p>
        </p:txBody>
      </p:sp>
      <p:sp>
        <p:nvSpPr>
          <p:cNvPr id="20" name="5. Source"/>
          <p:cNvSpPr>
            <a:spLocks noChangeArrowheads="1"/>
          </p:cNvSpPr>
          <p:nvPr/>
        </p:nvSpPr>
        <p:spPr bwMode="auto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US" sz="800" dirty="0">
                <a:solidFill>
                  <a:schemeClr val="accent6"/>
                </a:solidFill>
                <a:latin typeface="+mn-lt"/>
              </a:rPr>
              <a:t>SOURCE: McKinsey Energy Insights; World energy outlook 2016, </a:t>
            </a:r>
            <a:r>
              <a:rPr lang="en-US" sz="800" dirty="0" err="1">
                <a:solidFill>
                  <a:schemeClr val="accent6"/>
                </a:solidFill>
                <a:latin typeface="+mn-lt"/>
              </a:rPr>
              <a:t>IEA</a:t>
            </a:r>
            <a:r>
              <a:rPr lang="en-US" sz="800" dirty="0">
                <a:solidFill>
                  <a:schemeClr val="accent6"/>
                </a:solidFill>
                <a:latin typeface="+mn-lt"/>
              </a:rPr>
              <a:t>; McKinsey Global Institute analysis</a:t>
            </a:r>
          </a:p>
        </p:txBody>
      </p:sp>
      <p:sp>
        <p:nvSpPr>
          <p:cNvPr id="22" name="Shape_17"/>
          <p:cNvSpPr txBox="1">
            <a:spLocks/>
          </p:cNvSpPr>
          <p:nvPr/>
        </p:nvSpPr>
        <p:spPr>
          <a:xfrm>
            <a:off x="475488" y="1460500"/>
            <a:ext cx="529545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Business-as-Usual scenario</a:t>
            </a:r>
          </a:p>
          <a:p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Emissions continue to grow until 2035</a:t>
            </a:r>
          </a:p>
        </p:txBody>
      </p:sp>
      <p:cxnSp>
        <p:nvCxnSpPr>
          <p:cNvPr id="7" name="Straight Connector 6"/>
          <p:cNvCxnSpPr>
            <a:cxnSpLocks/>
          </p:cNvCxnSpPr>
          <p:nvPr/>
        </p:nvCxnSpPr>
        <p:spPr>
          <a:xfrm>
            <a:off x="475488" y="1987550"/>
            <a:ext cx="529545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hape_18"/>
          <p:cNvSpPr txBox="1">
            <a:spLocks/>
          </p:cNvSpPr>
          <p:nvPr/>
        </p:nvSpPr>
        <p:spPr>
          <a:xfrm>
            <a:off x="6149532" y="1460500"/>
            <a:ext cx="529545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29528" eaLnBrk="1" hangingPunct="1">
              <a:buClr>
                <a:schemeClr val="tx2"/>
              </a:buClr>
              <a:defRPr sz="900" baseline="0">
                <a:latin typeface="+mn-lt"/>
              </a:defRPr>
            </a:lvl1pPr>
            <a:lvl2pPr marL="114304" lvl="1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▪"/>
              <a:defRPr sz="900" baseline="0">
                <a:latin typeface="+mn-lt"/>
              </a:defRPr>
            </a:lvl2pPr>
            <a:lvl3pPr marL="285759" lvl="2" indent="-171456" defTabSz="629528" eaLnBrk="1" hangingPunct="1">
              <a:buClr>
                <a:schemeClr val="tx1"/>
              </a:buClr>
              <a:buSzPct val="120000"/>
              <a:buFont typeface="Arial" charset="0"/>
              <a:buChar char="–"/>
              <a:defRPr sz="900" baseline="0">
                <a:latin typeface="+mn-lt"/>
              </a:defRPr>
            </a:lvl3pPr>
            <a:lvl4pPr marL="400064" lvl="3" indent="-114304" defTabSz="629528" eaLnBrk="1" hangingPunct="1">
              <a:buClr>
                <a:schemeClr val="tx1"/>
              </a:buClr>
              <a:buSzPct val="120000"/>
              <a:buFont typeface="Arial" charset="0"/>
              <a:buChar char="▫"/>
              <a:defRPr sz="900" baseline="0">
                <a:latin typeface="+mn-lt"/>
              </a:defRPr>
            </a:lvl4pPr>
            <a:lvl5pPr marL="514368" lvl="4" indent="-114304" defTabSz="629528" eaLnBrk="1" hangingPunct="1">
              <a:buClr>
                <a:schemeClr val="tx1"/>
              </a:buClr>
              <a:buSzPct val="89000"/>
              <a:buFont typeface="Arial" charset="0"/>
              <a:buChar char="-"/>
              <a:defRPr sz="900" baseline="0">
                <a:latin typeface="+mn-lt"/>
              </a:defRPr>
            </a:lvl5pPr>
            <a:lvl6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6pPr>
            <a:lvl7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7pPr>
            <a:lvl8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8pPr>
            <a:lvl9pPr marL="527195" indent="-91527" defTabSz="62952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125" baseline="0"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accent2"/>
                </a:solidFill>
              </a:rPr>
              <a:t>Tech disruptor case</a:t>
            </a:r>
          </a:p>
          <a:p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Emissions peak in 2025</a:t>
            </a: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6149532" y="1987550"/>
            <a:ext cx="5295454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. Unit of measure"/>
          <p:cNvSpPr txBox="1">
            <a:spLocks noChangeArrowheads="1"/>
          </p:cNvSpPr>
          <p:nvPr/>
        </p:nvSpPr>
        <p:spPr bwMode="gray">
          <a:xfrm>
            <a:off x="475489" y="1106680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2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Greenhouse gas emissions by scenario; </a:t>
            </a:r>
            <a:r>
              <a:rPr lang="en-US" dirty="0" err="1"/>
              <a:t>Gigatonnes</a:t>
            </a:r>
            <a:r>
              <a:rPr lang="en-US" dirty="0"/>
              <a:t> CO2 equivalent</a:t>
            </a:r>
          </a:p>
        </p:txBody>
      </p:sp>
      <p:graphicFrame>
        <p:nvGraphicFramePr>
          <p:cNvPr id="3" name="Object 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17500" y="1993901"/>
          <a:ext cx="5575284" cy="3987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89" name="Chart" r:id="rId16" imgW="5575284" imgH="3987625" progId="MSGraph.Chart.8">
                  <p:embed followColorScheme="full"/>
                </p:oleObj>
              </mc:Choice>
              <mc:Fallback>
                <p:oleObj name="Chart" r:id="rId16" imgW="5575284" imgH="3987625" progId="MSGraph.Chart.8">
                  <p:embed followColorScheme="full"/>
                  <p:pic>
                    <p:nvPicPr>
                      <p:cNvPr id="3" name="Object 2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17500" y="1993901"/>
                        <a:ext cx="5575284" cy="3987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29150" y="594836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09E1EFA-D709-4EA6-8D30-065ACCEE3B3A}" type="datetime'2''''0''''''''''''''3''''''''''''''''5'''''''''">
              <a:rPr lang="en-US" altLang="en-US">
                <a:solidFill>
                  <a:schemeClr val="accent6"/>
                </a:solidFill>
              </a:rPr>
              <a:pPr/>
              <a:t>203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989263" y="594836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874AC5D-4125-47DF-A43C-61F3869DFFA0}" type="datetime'''''''''2''''''''''''''''''''''''''''''5'''''''''''''''">
              <a:rPr lang="en-US" altLang="en-US">
                <a:solidFill>
                  <a:schemeClr val="accent6"/>
                </a:solidFill>
              </a:rPr>
              <a:pPr/>
              <a:t>2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123950" y="594836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3CFDA68-091D-4FC6-8C57-E93647A6C674}" type="datetime'''''''2''''''''''0''''''''''''''''''1''''''''''''''''''''5'''">
              <a:rPr lang="en-US" altLang="en-US">
                <a:solidFill>
                  <a:schemeClr val="accent6"/>
                </a:solidFill>
              </a:rPr>
              <a:pPr/>
              <a:t>201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graphicFrame>
        <p:nvGraphicFramePr>
          <p:cNvPr id="131" name="Object 130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6045200" y="2311400"/>
          <a:ext cx="5499247" cy="3619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90" name="Chart" r:id="rId18" imgW="5499247" imgH="3619763" progId="MSGraph.Chart.8">
                  <p:embed followColorScheme="full"/>
                </p:oleObj>
              </mc:Choice>
              <mc:Fallback>
                <p:oleObj name="Chart" r:id="rId18" imgW="5499247" imgH="3619763" progId="MSGraph.Chart.8">
                  <p:embed followColorScheme="full"/>
                  <p:pic>
                    <p:nvPicPr>
                      <p:cNvPr id="131" name="Object 130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6045200" y="2311400"/>
                        <a:ext cx="5499247" cy="3619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25100" y="594836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0744E62-690C-4E3F-A565-C84D6200E991}" type="datetime'''''''''''''''''''''''''''''2''''''''''0''''35'''''">
              <a:rPr lang="en-US" altLang="en-US">
                <a:solidFill>
                  <a:schemeClr val="accent6"/>
                </a:solidFill>
              </a:rPr>
              <a:pPr/>
              <a:t>203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672513" y="5948363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5688CC1-27C3-45A2-B77A-23FD91037603}" type="datetime'''''''''''''2''''''''''''''''''''''''''5'''''''''''''''">
              <a:rPr lang="en-US" altLang="en-US">
                <a:solidFill>
                  <a:schemeClr val="accent6"/>
                </a:solidFill>
              </a:rPr>
              <a:pPr/>
              <a:t>2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94500" y="5948363"/>
            <a:ext cx="4635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8246" indent="-25613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1E79D9-7850-4FD9-95A2-D4D0596629F0}" type="datetime'''''''''''''''''''''''''''2''''0''''''''''1''''''''''5'''">
              <a:rPr lang="en-US" altLang="en-US">
                <a:solidFill>
                  <a:schemeClr val="accent6"/>
                </a:solidFill>
              </a:rPr>
              <a:pPr/>
              <a:t>2015</a:t>
            </a:fld>
            <a:endParaRPr lang="en-US" dirty="0">
              <a:solidFill>
                <a:schemeClr val="accent6"/>
              </a:solidFill>
              <a:sym typeface="+mn-lt"/>
            </a:endParaRPr>
          </a:p>
        </p:txBody>
      </p:sp>
      <p:grpSp>
        <p:nvGrpSpPr>
          <p:cNvPr id="144" name="Group 143"/>
          <p:cNvGrpSpPr/>
          <p:nvPr/>
        </p:nvGrpSpPr>
        <p:grpSpPr>
          <a:xfrm>
            <a:off x="725108" y="2757488"/>
            <a:ext cx="1244853" cy="222250"/>
            <a:chOff x="425450" y="2672389"/>
            <a:chExt cx="1295400" cy="222250"/>
          </a:xfrm>
        </p:grpSpPr>
        <p:cxnSp>
          <p:nvCxnSpPr>
            <p:cNvPr id="128" name="Straight Connector 127"/>
            <p:cNvCxnSpPr/>
            <p:nvPr/>
          </p:nvCxnSpPr>
          <p:spPr>
            <a:xfrm>
              <a:off x="425450" y="27876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Diamond 137"/>
            <p:cNvSpPr/>
            <p:nvPr/>
          </p:nvSpPr>
          <p:spPr>
            <a:xfrm>
              <a:off x="967548" y="2672389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1" name="Diamond 140"/>
            <p:cNvSpPr/>
            <p:nvPr/>
          </p:nvSpPr>
          <p:spPr>
            <a:xfrm>
              <a:off x="1024936" y="2729777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45" name="Group 144"/>
          <p:cNvGrpSpPr/>
          <p:nvPr/>
        </p:nvGrpSpPr>
        <p:grpSpPr>
          <a:xfrm>
            <a:off x="2485169" y="3135313"/>
            <a:ext cx="1244853" cy="222250"/>
            <a:chOff x="2264091" y="3050143"/>
            <a:chExt cx="1295400" cy="222250"/>
          </a:xfrm>
        </p:grpSpPr>
        <p:cxnSp>
          <p:nvCxnSpPr>
            <p:cNvPr id="129" name="Straight Connector 128"/>
            <p:cNvCxnSpPr/>
            <p:nvPr/>
          </p:nvCxnSpPr>
          <p:spPr>
            <a:xfrm>
              <a:off x="2264091" y="31686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Diamond 138"/>
            <p:cNvSpPr/>
            <p:nvPr/>
          </p:nvSpPr>
          <p:spPr>
            <a:xfrm>
              <a:off x="2800666" y="3050143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2" name="Diamond 141"/>
            <p:cNvSpPr/>
            <p:nvPr/>
          </p:nvSpPr>
          <p:spPr>
            <a:xfrm>
              <a:off x="2858054" y="3107531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4237609" y="3694113"/>
            <a:ext cx="1244853" cy="222250"/>
            <a:chOff x="4105591" y="3608641"/>
            <a:chExt cx="1295400" cy="222250"/>
          </a:xfrm>
        </p:grpSpPr>
        <p:cxnSp>
          <p:nvCxnSpPr>
            <p:cNvPr id="130" name="Straight Connector 129"/>
            <p:cNvCxnSpPr/>
            <p:nvPr/>
          </p:nvCxnSpPr>
          <p:spPr>
            <a:xfrm>
              <a:off x="4105591" y="37274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Diamond 139"/>
            <p:cNvSpPr/>
            <p:nvPr/>
          </p:nvSpPr>
          <p:spPr>
            <a:xfrm>
              <a:off x="4649850" y="3608641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43" name="Diamond 142"/>
            <p:cNvSpPr/>
            <p:nvPr/>
          </p:nvSpPr>
          <p:spPr>
            <a:xfrm>
              <a:off x="4707238" y="3666029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6391848" y="2757488"/>
            <a:ext cx="1244853" cy="222250"/>
            <a:chOff x="425450" y="2672389"/>
            <a:chExt cx="1295400" cy="222250"/>
          </a:xfrm>
        </p:grpSpPr>
        <p:cxnSp>
          <p:nvCxnSpPr>
            <p:cNvPr id="148" name="Straight Connector 147"/>
            <p:cNvCxnSpPr/>
            <p:nvPr/>
          </p:nvCxnSpPr>
          <p:spPr>
            <a:xfrm>
              <a:off x="425450" y="27876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9" name="Diamond 148"/>
            <p:cNvSpPr/>
            <p:nvPr/>
          </p:nvSpPr>
          <p:spPr>
            <a:xfrm>
              <a:off x="967548" y="2672389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0" name="Diamond 149"/>
            <p:cNvSpPr/>
            <p:nvPr/>
          </p:nvSpPr>
          <p:spPr>
            <a:xfrm>
              <a:off x="1024936" y="2729777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8170958" y="3135313"/>
            <a:ext cx="1244853" cy="222250"/>
            <a:chOff x="2264091" y="3050143"/>
            <a:chExt cx="1295400" cy="222250"/>
          </a:xfrm>
        </p:grpSpPr>
        <p:cxnSp>
          <p:nvCxnSpPr>
            <p:cNvPr id="152" name="Straight Connector 151"/>
            <p:cNvCxnSpPr/>
            <p:nvPr/>
          </p:nvCxnSpPr>
          <p:spPr>
            <a:xfrm>
              <a:off x="2264091" y="31686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3" name="Diamond 152"/>
            <p:cNvSpPr/>
            <p:nvPr/>
          </p:nvSpPr>
          <p:spPr>
            <a:xfrm>
              <a:off x="2800666" y="3050143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4" name="Diamond 153"/>
            <p:cNvSpPr/>
            <p:nvPr/>
          </p:nvSpPr>
          <p:spPr>
            <a:xfrm>
              <a:off x="2858054" y="3107531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9950069" y="3694113"/>
            <a:ext cx="1244853" cy="222250"/>
            <a:chOff x="4105591" y="3608641"/>
            <a:chExt cx="1295400" cy="222250"/>
          </a:xfrm>
        </p:grpSpPr>
        <p:cxnSp>
          <p:nvCxnSpPr>
            <p:cNvPr id="156" name="Straight Connector 155"/>
            <p:cNvCxnSpPr/>
            <p:nvPr/>
          </p:nvCxnSpPr>
          <p:spPr>
            <a:xfrm>
              <a:off x="4105591" y="3727450"/>
              <a:ext cx="1295400" cy="0"/>
            </a:xfrm>
            <a:prstGeom prst="line">
              <a:avLst/>
            </a:prstGeom>
            <a:ln w="1270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Diamond 156"/>
            <p:cNvSpPr/>
            <p:nvPr/>
          </p:nvSpPr>
          <p:spPr>
            <a:xfrm>
              <a:off x="4649850" y="3608641"/>
              <a:ext cx="222250" cy="222250"/>
            </a:xfrm>
            <a:prstGeom prst="diamond">
              <a:avLst/>
            </a:prstGeom>
            <a:solidFill>
              <a:srgbClr val="FF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158" name="Diamond 157"/>
            <p:cNvSpPr/>
            <p:nvPr/>
          </p:nvSpPr>
          <p:spPr>
            <a:xfrm>
              <a:off x="4707238" y="3666029"/>
              <a:ext cx="107474" cy="107474"/>
            </a:xfrm>
            <a:prstGeom prst="diamond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9358821" y="812585"/>
            <a:ext cx="2086165" cy="578026"/>
            <a:chOff x="9204436" y="617599"/>
            <a:chExt cx="2086165" cy="578026"/>
          </a:xfrm>
        </p:grpSpPr>
        <p:sp>
          <p:nvSpPr>
            <p:cNvPr id="9" name="TextBox 8"/>
            <p:cNvSpPr txBox="1"/>
            <p:nvPr/>
          </p:nvSpPr>
          <p:spPr>
            <a:xfrm>
              <a:off x="9843732" y="641627"/>
              <a:ext cx="144686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19386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258246" lvl="1" indent="-256130" defTabSz="1193860" eaLnBrk="1" hangingPunct="1">
                <a:buClr>
                  <a:schemeClr val="accent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hangingPunct="1">
                <a:buClr>
                  <a:schemeClr val="accent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hangingPunct="1">
                <a:buClr>
                  <a:schemeClr val="accent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200" dirty="0"/>
                <a:t>Emissions in line with 2 degree scenario (</a:t>
              </a:r>
              <a:r>
                <a:rPr lang="en-US" sz="1200" dirty="0" err="1"/>
                <a:t>IEA</a:t>
              </a:r>
              <a:r>
                <a:rPr lang="en-US" sz="1200" dirty="0"/>
                <a:t> 450)</a:t>
              </a:r>
            </a:p>
          </p:txBody>
        </p:sp>
        <p:grpSp>
          <p:nvGrpSpPr>
            <p:cNvPr id="182" name="Group 181"/>
            <p:cNvGrpSpPr/>
            <p:nvPr/>
          </p:nvGrpSpPr>
          <p:grpSpPr>
            <a:xfrm>
              <a:off x="9204436" y="617599"/>
              <a:ext cx="531019" cy="222250"/>
              <a:chOff x="8274844" y="865717"/>
              <a:chExt cx="531019" cy="222250"/>
            </a:xfrm>
          </p:grpSpPr>
          <p:cxnSp>
            <p:nvCxnSpPr>
              <p:cNvPr id="176" name="Straight Connector 175"/>
              <p:cNvCxnSpPr/>
              <p:nvPr/>
            </p:nvCxnSpPr>
            <p:spPr>
              <a:xfrm>
                <a:off x="8274844" y="976842"/>
                <a:ext cx="531019" cy="0"/>
              </a:xfrm>
              <a:prstGeom prst="line">
                <a:avLst/>
              </a:prstGeom>
              <a:ln w="12700">
                <a:solidFill>
                  <a:srgbClr val="FF0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81" name="Group 180"/>
              <p:cNvGrpSpPr/>
              <p:nvPr/>
            </p:nvGrpSpPr>
            <p:grpSpPr>
              <a:xfrm>
                <a:off x="8429228" y="865717"/>
                <a:ext cx="222250" cy="222250"/>
                <a:chOff x="8444242" y="865717"/>
                <a:chExt cx="222250" cy="222250"/>
              </a:xfrm>
            </p:grpSpPr>
            <p:sp>
              <p:nvSpPr>
                <p:cNvPr id="177" name="Diamond 176"/>
                <p:cNvSpPr/>
                <p:nvPr/>
              </p:nvSpPr>
              <p:spPr>
                <a:xfrm>
                  <a:off x="8444242" y="865717"/>
                  <a:ext cx="222250" cy="222250"/>
                </a:xfrm>
                <a:prstGeom prst="diamond">
                  <a:avLst/>
                </a:prstGeom>
                <a:solidFill>
                  <a:srgbClr val="FF0000"/>
                </a:solidFill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8" name="Diamond 177"/>
                <p:cNvSpPr/>
                <p:nvPr/>
              </p:nvSpPr>
              <p:spPr>
                <a:xfrm>
                  <a:off x="8501630" y="923105"/>
                  <a:ext cx="107474" cy="107474"/>
                </a:xfrm>
                <a:prstGeom prst="diamond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63218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8" y="167559"/>
            <a:ext cx="10969498" cy="400110"/>
          </a:xfrm>
        </p:spPr>
        <p:txBody>
          <a:bodyPr/>
          <a:lstStyle/>
          <a:p>
            <a:r>
              <a:rPr lang="en-US" dirty="0"/>
              <a:t>Addressing Greenhouse Gas Emissions Requires Broad Innovation</a:t>
            </a:r>
          </a:p>
        </p:txBody>
      </p:sp>
      <p:sp>
        <p:nvSpPr>
          <p:cNvPr id="3" name="Right Arrow 17"/>
          <p:cNvSpPr/>
          <p:nvPr/>
        </p:nvSpPr>
        <p:spPr>
          <a:xfrm>
            <a:off x="4625004" y="3445362"/>
            <a:ext cx="426476" cy="563276"/>
          </a:xfrm>
          <a:prstGeom prst="rightArrow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5959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val 3"/>
          <p:cNvSpPr/>
          <p:nvPr/>
        </p:nvSpPr>
        <p:spPr>
          <a:xfrm>
            <a:off x="5136964" y="2745445"/>
            <a:ext cx="1943677" cy="1963112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D9F0FA"/>
            </a:solidFill>
            <a:prstDash val="solid"/>
            <a:miter lim="800000"/>
            <a:headEnd/>
            <a:tailEnd/>
          </a:ln>
          <a:effectLst/>
        </p:spPr>
        <p:txBody>
          <a:bodyPr spcFirstLastPara="0" vert="horz" wrap="none" lIns="0" tIns="0" rIns="0" bIns="0" numCol="1" spcCol="1270" anchor="ctr" anchorCtr="0"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on to</a:t>
            </a:r>
            <a:b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 carbon</a:t>
            </a:r>
            <a:b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systems</a:t>
            </a:r>
            <a:b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ing energy</a:t>
            </a:r>
            <a:b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for all</a:t>
            </a:r>
          </a:p>
        </p:txBody>
      </p:sp>
      <p:sp>
        <p:nvSpPr>
          <p:cNvPr id="5" name="Rounded Rectangle 9"/>
          <p:cNvSpPr>
            <a:spLocks/>
          </p:cNvSpPr>
          <p:nvPr/>
        </p:nvSpPr>
        <p:spPr>
          <a:xfrm>
            <a:off x="379226" y="1815493"/>
            <a:ext cx="2048273" cy="1822363"/>
          </a:xfrm>
          <a:prstGeom prst="roundRect">
            <a:avLst/>
          </a:prstGeom>
          <a:solidFill>
            <a:schemeClr val="accent4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53998" tIns="53998" rIns="53998" bIns="53998" anchor="ctr"/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rbonization of</a:t>
            </a:r>
            <a:b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er</a:t>
            </a:r>
          </a:p>
        </p:txBody>
      </p:sp>
      <p:sp>
        <p:nvSpPr>
          <p:cNvPr id="6" name="Rounded Rectangle 10"/>
          <p:cNvSpPr>
            <a:spLocks/>
          </p:cNvSpPr>
          <p:nvPr/>
        </p:nvSpPr>
        <p:spPr>
          <a:xfrm>
            <a:off x="2491248" y="1815493"/>
            <a:ext cx="2048273" cy="1822363"/>
          </a:xfrm>
          <a:prstGeom prst="roundRect">
            <a:avLst/>
          </a:prstGeom>
          <a:solidFill>
            <a:schemeClr val="accent4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arbonization of Transportation</a:t>
            </a:r>
          </a:p>
        </p:txBody>
      </p:sp>
      <p:sp>
        <p:nvSpPr>
          <p:cNvPr id="7" name="Rounded Rectangle 11"/>
          <p:cNvSpPr>
            <a:spLocks/>
          </p:cNvSpPr>
          <p:nvPr/>
        </p:nvSpPr>
        <p:spPr>
          <a:xfrm>
            <a:off x="379226" y="3816144"/>
            <a:ext cx="2048273" cy="1822363"/>
          </a:xfrm>
          <a:prstGeom prst="roundRect">
            <a:avLst/>
          </a:prstGeom>
          <a:solidFill>
            <a:schemeClr val="accent4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 efficiency</a:t>
            </a:r>
          </a:p>
        </p:txBody>
      </p:sp>
      <p:sp>
        <p:nvSpPr>
          <p:cNvPr id="8" name="Rounded Rectangle 12"/>
          <p:cNvSpPr>
            <a:spLocks/>
          </p:cNvSpPr>
          <p:nvPr/>
        </p:nvSpPr>
        <p:spPr>
          <a:xfrm>
            <a:off x="2491248" y="3816144"/>
            <a:ext cx="2048273" cy="1822363"/>
          </a:xfrm>
          <a:prstGeom prst="roundRect">
            <a:avLst/>
          </a:prstGeom>
          <a:solidFill>
            <a:schemeClr val="accent4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stry/ </a:t>
            </a:r>
          </a:p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Use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19187" y="991616"/>
            <a:ext cx="4080374" cy="608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wrap="square" lIns="53998" tIns="53998" rIns="53998" bIns="53998" anchor="ctr"/>
          <a:lstStyle/>
          <a:p>
            <a:pPr algn="ctr">
              <a:spcAft>
                <a:spcPts val="225"/>
              </a:spcAft>
              <a:buClr>
                <a:srgbClr val="007CBA"/>
              </a:buClr>
            </a:pPr>
            <a: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 basic transition strategies</a:t>
            </a:r>
          </a:p>
        </p:txBody>
      </p:sp>
      <p:sp>
        <p:nvSpPr>
          <p:cNvPr id="10" name="Oval 9"/>
          <p:cNvSpPr/>
          <p:nvPr/>
        </p:nvSpPr>
        <p:spPr>
          <a:xfrm>
            <a:off x="1800276" y="3088944"/>
            <a:ext cx="1318195" cy="1279429"/>
          </a:xfrm>
          <a:prstGeom prst="ellipse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GB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ry-specific transition path-ways</a:t>
            </a:r>
          </a:p>
        </p:txBody>
      </p:sp>
      <p:sp>
        <p:nvSpPr>
          <p:cNvPr id="11" name="Marvin tracker circle"/>
          <p:cNvSpPr/>
          <p:nvPr/>
        </p:nvSpPr>
        <p:spPr>
          <a:xfrm>
            <a:off x="1289945" y="1869229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" name="Marvin tracker circle"/>
          <p:cNvSpPr/>
          <p:nvPr/>
        </p:nvSpPr>
        <p:spPr>
          <a:xfrm>
            <a:off x="3401966" y="1869041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3" name="Marvin tracker circle"/>
          <p:cNvSpPr/>
          <p:nvPr/>
        </p:nvSpPr>
        <p:spPr>
          <a:xfrm>
            <a:off x="1286784" y="3860953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Marvin tracker circle"/>
          <p:cNvSpPr/>
          <p:nvPr/>
        </p:nvSpPr>
        <p:spPr>
          <a:xfrm>
            <a:off x="3401966" y="3857291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Right Arrow 17"/>
          <p:cNvSpPr/>
          <p:nvPr/>
        </p:nvSpPr>
        <p:spPr>
          <a:xfrm flipH="1">
            <a:off x="7129850" y="3453713"/>
            <a:ext cx="426476" cy="563276"/>
          </a:xfrm>
          <a:prstGeom prst="rightArrow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5959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7561095" y="1012493"/>
            <a:ext cx="4080374" cy="60804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  <a:effectLst/>
          <a:extLst/>
        </p:spPr>
        <p:txBody>
          <a:bodyPr wrap="square" lIns="53998" tIns="53998" rIns="53998" bIns="53998" anchor="ctr"/>
          <a:lstStyle/>
          <a:p>
            <a:pPr algn="ctr">
              <a:spcAft>
                <a:spcPts val="225"/>
              </a:spcAft>
              <a:buClr>
                <a:srgbClr val="007CBA"/>
              </a:buClr>
            </a:pPr>
            <a:r>
              <a:rPr lang="en-US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Opportunities for Innovation</a:t>
            </a:r>
          </a:p>
        </p:txBody>
      </p:sp>
      <p:sp>
        <p:nvSpPr>
          <p:cNvPr id="17" name="Rounded Rectangle 9"/>
          <p:cNvSpPr>
            <a:spLocks/>
          </p:cNvSpPr>
          <p:nvPr/>
        </p:nvSpPr>
        <p:spPr>
          <a:xfrm>
            <a:off x="7546186" y="1792529"/>
            <a:ext cx="2048273" cy="1822363"/>
          </a:xfrm>
          <a:prstGeom prst="roundRect">
            <a:avLst/>
          </a:prstGeom>
          <a:solidFill>
            <a:srgbClr val="FFC000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bon Capture, Use and Sequestration</a:t>
            </a:r>
          </a:p>
        </p:txBody>
      </p:sp>
      <p:sp>
        <p:nvSpPr>
          <p:cNvPr id="18" name="Rounded Rectangle 10"/>
          <p:cNvSpPr>
            <a:spLocks/>
          </p:cNvSpPr>
          <p:nvPr/>
        </p:nvSpPr>
        <p:spPr>
          <a:xfrm>
            <a:off x="9658208" y="1792529"/>
            <a:ext cx="2048273" cy="1822363"/>
          </a:xfrm>
          <a:prstGeom prst="roundRect">
            <a:avLst/>
          </a:prstGeom>
          <a:solidFill>
            <a:srgbClr val="FF0000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Heat</a:t>
            </a:r>
          </a:p>
        </p:txBody>
      </p:sp>
      <p:sp>
        <p:nvSpPr>
          <p:cNvPr id="19" name="Rounded Rectangle 11"/>
          <p:cNvSpPr>
            <a:spLocks/>
          </p:cNvSpPr>
          <p:nvPr/>
        </p:nvSpPr>
        <p:spPr>
          <a:xfrm>
            <a:off x="7546186" y="3793180"/>
            <a:ext cx="2048273" cy="1822363"/>
          </a:xfrm>
          <a:prstGeom prst="roundRect">
            <a:avLst/>
          </a:prstGeom>
          <a:solidFill>
            <a:srgbClr val="0070C0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Efficiency</a:t>
            </a:r>
          </a:p>
        </p:txBody>
      </p:sp>
      <p:sp>
        <p:nvSpPr>
          <p:cNvPr id="20" name="Rounded Rectangle 12"/>
          <p:cNvSpPr>
            <a:spLocks/>
          </p:cNvSpPr>
          <p:nvPr/>
        </p:nvSpPr>
        <p:spPr>
          <a:xfrm>
            <a:off x="9658208" y="3793180"/>
            <a:ext cx="2048273" cy="1822363"/>
          </a:xfrm>
          <a:prstGeom prst="roundRect">
            <a:avLst/>
          </a:prstGeom>
          <a:solidFill>
            <a:srgbClr val="7030A0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53998" tIns="53998" rIns="53998" bIns="53998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ane Management</a:t>
            </a:r>
          </a:p>
        </p:txBody>
      </p:sp>
      <p:sp>
        <p:nvSpPr>
          <p:cNvPr id="21" name="Oval 20"/>
          <p:cNvSpPr/>
          <p:nvPr/>
        </p:nvSpPr>
        <p:spPr>
          <a:xfrm>
            <a:off x="8948447" y="3065980"/>
            <a:ext cx="1366737" cy="1279429"/>
          </a:xfrm>
          <a:prstGeom prst="ellipse">
            <a:avLst/>
          </a:prstGeom>
          <a:solidFill>
            <a:srgbClr val="00B050"/>
          </a:solidFill>
          <a:ln w="9525" algn="ctr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/>
          <a:lstStyle/>
          <a:p>
            <a:pPr algn="ctr">
              <a:lnSpc>
                <a:spcPct val="85000"/>
              </a:lnSpc>
            </a:pPr>
            <a:r>
              <a:rPr lang="en-GB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ing Innovation</a:t>
            </a:r>
          </a:p>
        </p:txBody>
      </p:sp>
      <p:sp>
        <p:nvSpPr>
          <p:cNvPr id="22" name="Marvin tracker circle"/>
          <p:cNvSpPr/>
          <p:nvPr/>
        </p:nvSpPr>
        <p:spPr>
          <a:xfrm>
            <a:off x="8456905" y="1846265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" name="Marvin tracker circle"/>
          <p:cNvSpPr/>
          <p:nvPr/>
        </p:nvSpPr>
        <p:spPr>
          <a:xfrm>
            <a:off x="10568926" y="1846077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4" name="Marvin tracker circle"/>
          <p:cNvSpPr/>
          <p:nvPr/>
        </p:nvSpPr>
        <p:spPr>
          <a:xfrm>
            <a:off x="8453744" y="3837989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5" name="Marvin tracker circle"/>
          <p:cNvSpPr/>
          <p:nvPr/>
        </p:nvSpPr>
        <p:spPr>
          <a:xfrm>
            <a:off x="10568926" y="3834327"/>
            <a:ext cx="226835" cy="229102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7002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479" y="166735"/>
            <a:ext cx="10231438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Open question: will cities play a bigger role?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80085" y="397445"/>
            <a:ext cx="8061211" cy="5894157"/>
            <a:chOff x="1612900" y="235459"/>
            <a:chExt cx="8618537" cy="5894157"/>
          </a:xfrm>
        </p:grpSpPr>
        <p:sp>
          <p:nvSpPr>
            <p:cNvPr id="185" name="3. Unit of measure"/>
            <p:cNvSpPr txBox="1">
              <a:spLocks noChangeArrowheads="1"/>
            </p:cNvSpPr>
            <p:nvPr/>
          </p:nvSpPr>
          <p:spPr bwMode="auto">
            <a:xfrm>
              <a:off x="1612900" y="558920"/>
              <a:ext cx="8618537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dirty="0"/>
                <a:t>Population living at different levels of pollution</a:t>
              </a:r>
            </a:p>
          </p:txBody>
        </p:sp>
        <p:sp>
          <p:nvSpPr>
            <p:cNvPr id="2185" name="Right Arrow 2184"/>
            <p:cNvSpPr/>
            <p:nvPr/>
          </p:nvSpPr>
          <p:spPr>
            <a:xfrm rot="19800000">
              <a:off x="9122423" y="5458289"/>
              <a:ext cx="1024879" cy="542435"/>
            </a:xfrm>
            <a:prstGeom prst="rightArrow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Rectangle 55"/>
            <p:cNvSpPr txBox="1"/>
            <p:nvPr/>
          </p:nvSpPr>
          <p:spPr>
            <a:xfrm>
              <a:off x="3216898" y="5320600"/>
              <a:ext cx="1042208" cy="80021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5200" dirty="0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Arial Black" panose="020B0A04020102020204" pitchFamily="34" charset="0"/>
                </a:rPr>
                <a:t>2x</a:t>
              </a:r>
            </a:p>
          </p:txBody>
        </p:sp>
        <p:sp>
          <p:nvSpPr>
            <p:cNvPr id="71" name="Rectangle 55"/>
            <p:cNvSpPr txBox="1"/>
            <p:nvPr/>
          </p:nvSpPr>
          <p:spPr>
            <a:xfrm>
              <a:off x="4663183" y="5329397"/>
              <a:ext cx="1042208" cy="80021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5200" dirty="0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Arial Black" panose="020B0A04020102020204" pitchFamily="34" charset="0"/>
                </a:rPr>
                <a:t>5x</a:t>
              </a:r>
            </a:p>
          </p:txBody>
        </p:sp>
        <p:sp>
          <p:nvSpPr>
            <p:cNvPr id="72" name="Rectangle 55"/>
            <p:cNvSpPr txBox="1"/>
            <p:nvPr/>
          </p:nvSpPr>
          <p:spPr>
            <a:xfrm>
              <a:off x="5918772" y="5326016"/>
              <a:ext cx="1541276" cy="80021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5200" dirty="0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Arial Black" panose="020B0A04020102020204" pitchFamily="34" charset="0"/>
                </a:rPr>
                <a:t>10x</a:t>
              </a:r>
            </a:p>
          </p:txBody>
        </p:sp>
        <p:sp>
          <p:nvSpPr>
            <p:cNvPr id="73" name="Rectangle 55"/>
            <p:cNvSpPr txBox="1"/>
            <p:nvPr/>
          </p:nvSpPr>
          <p:spPr>
            <a:xfrm>
              <a:off x="7387283" y="5329397"/>
              <a:ext cx="1332096" cy="800219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5200" dirty="0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Arial Black" panose="020B0A04020102020204" pitchFamily="34" charset="0"/>
                </a:rPr>
                <a:t>15x</a:t>
              </a:r>
            </a:p>
          </p:txBody>
        </p:sp>
        <p:sp>
          <p:nvSpPr>
            <p:cNvPr id="4402" name="Oval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279822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14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400" name="Rectangle 55"/>
            <p:cNvSpPr txBox="1">
              <a:spLocks/>
            </p:cNvSpPr>
            <p:nvPr/>
          </p:nvSpPr>
          <p:spPr>
            <a:xfrm>
              <a:off x="6280469" y="5253043"/>
              <a:ext cx="658835" cy="16927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Within 10x</a:t>
              </a:r>
            </a:p>
          </p:txBody>
        </p:sp>
        <p:sp>
          <p:nvSpPr>
            <p:cNvPr id="4603" name="Oval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7720698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3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601" name="Rectangle 55"/>
            <p:cNvSpPr txBox="1">
              <a:spLocks/>
            </p:cNvSpPr>
            <p:nvPr/>
          </p:nvSpPr>
          <p:spPr>
            <a:xfrm>
              <a:off x="7723915" y="5253043"/>
              <a:ext cx="658835" cy="16927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Within 15x</a:t>
              </a:r>
            </a:p>
          </p:txBody>
        </p:sp>
        <p:sp>
          <p:nvSpPr>
            <p:cNvPr id="4201" name="Oval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4833537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49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199" name="Rectangle 55"/>
            <p:cNvSpPr txBox="1">
              <a:spLocks/>
            </p:cNvSpPr>
            <p:nvPr/>
          </p:nvSpPr>
          <p:spPr>
            <a:xfrm>
              <a:off x="4894145" y="5253043"/>
              <a:ext cx="580287" cy="16927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Within 5x</a:t>
              </a:r>
            </a:p>
          </p:txBody>
        </p:sp>
        <p:sp>
          <p:nvSpPr>
            <p:cNvPr id="4001" name="Oval 2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387252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25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3999" name="Rectangle 55"/>
            <p:cNvSpPr txBox="1">
              <a:spLocks/>
            </p:cNvSpPr>
            <p:nvPr/>
          </p:nvSpPr>
          <p:spPr>
            <a:xfrm>
              <a:off x="3447860" y="5253043"/>
              <a:ext cx="580287" cy="16927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Within 2x</a:t>
              </a:r>
            </a:p>
          </p:txBody>
        </p:sp>
        <p:sp>
          <p:nvSpPr>
            <p:cNvPr id="2914" name="Oval 2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915325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8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5"/>
            <p:cNvSpPr txBox="1">
              <a:spLocks/>
            </p:cNvSpPr>
            <p:nvPr/>
          </p:nvSpPr>
          <p:spPr>
            <a:xfrm>
              <a:off x="1672792" y="5253043"/>
              <a:ext cx="1186566" cy="50783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Under WHO guidelines (10ug/m3)</a:t>
              </a:r>
            </a:p>
          </p:txBody>
        </p:sp>
        <p:cxnSp>
          <p:nvCxnSpPr>
            <p:cNvPr id="58" name="Straight Connector 57"/>
            <p:cNvCxnSpPr>
              <a:cxnSpLocks/>
            </p:cNvCxnSpPr>
            <p:nvPr/>
          </p:nvCxnSpPr>
          <p:spPr>
            <a:xfrm>
              <a:off x="1672792" y="5205483"/>
              <a:ext cx="1186566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04" name="Oval 2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9161576" y="1547974"/>
              <a:ext cx="701500" cy="19880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>
                  <a:solidFill>
                    <a:schemeClr val="bg1"/>
                  </a:solidFill>
                </a:rPr>
                <a:t>2%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4802" name="Rectangle 55"/>
            <p:cNvSpPr txBox="1">
              <a:spLocks/>
            </p:cNvSpPr>
            <p:nvPr/>
          </p:nvSpPr>
          <p:spPr>
            <a:xfrm>
              <a:off x="9226993" y="5253043"/>
              <a:ext cx="570669" cy="169277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100" dirty="0"/>
                <a:t>Over 15x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1672792" y="1848387"/>
              <a:ext cx="1186564" cy="137068"/>
              <a:chOff x="178955" y="1936918"/>
              <a:chExt cx="1186564" cy="177061"/>
            </a:xfrm>
          </p:grpSpPr>
          <p:sp>
            <p:nvSpPr>
              <p:cNvPr id="169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69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0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344" name="Group 1343"/>
            <p:cNvGrpSpPr/>
            <p:nvPr/>
          </p:nvGrpSpPr>
          <p:grpSpPr>
            <a:xfrm>
              <a:off x="1672792" y="1999395"/>
              <a:ext cx="1186564" cy="137068"/>
              <a:chOff x="178955" y="1936918"/>
              <a:chExt cx="1186564" cy="177061"/>
            </a:xfrm>
          </p:grpSpPr>
          <p:sp>
            <p:nvSpPr>
              <p:cNvPr id="134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52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53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1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23" name="Group 1722"/>
            <p:cNvGrpSpPr/>
            <p:nvPr/>
          </p:nvGrpSpPr>
          <p:grpSpPr>
            <a:xfrm>
              <a:off x="1672792" y="2150402"/>
              <a:ext cx="1186564" cy="137068"/>
              <a:chOff x="178955" y="1936918"/>
              <a:chExt cx="1186564" cy="177061"/>
            </a:xfrm>
          </p:grpSpPr>
          <p:sp>
            <p:nvSpPr>
              <p:cNvPr id="172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2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3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38" name="Group 1737"/>
            <p:cNvGrpSpPr/>
            <p:nvPr/>
          </p:nvGrpSpPr>
          <p:grpSpPr>
            <a:xfrm>
              <a:off x="1672792" y="2301410"/>
              <a:ext cx="1186564" cy="137068"/>
              <a:chOff x="178955" y="1936918"/>
              <a:chExt cx="1186564" cy="177061"/>
            </a:xfrm>
          </p:grpSpPr>
          <p:sp>
            <p:nvSpPr>
              <p:cNvPr id="173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4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53" name="Group 1752"/>
            <p:cNvGrpSpPr/>
            <p:nvPr/>
          </p:nvGrpSpPr>
          <p:grpSpPr>
            <a:xfrm>
              <a:off x="1672792" y="2452418"/>
              <a:ext cx="1186564" cy="137068"/>
              <a:chOff x="178955" y="1936918"/>
              <a:chExt cx="1186564" cy="177061"/>
            </a:xfrm>
          </p:grpSpPr>
          <p:sp>
            <p:nvSpPr>
              <p:cNvPr id="175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5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6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68" name="Group 1767"/>
            <p:cNvGrpSpPr/>
            <p:nvPr/>
          </p:nvGrpSpPr>
          <p:grpSpPr>
            <a:xfrm>
              <a:off x="1672792" y="2603425"/>
              <a:ext cx="1186564" cy="137068"/>
              <a:chOff x="178955" y="1936918"/>
              <a:chExt cx="1186564" cy="177061"/>
            </a:xfrm>
          </p:grpSpPr>
          <p:sp>
            <p:nvSpPr>
              <p:cNvPr id="176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7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83" name="Group 1782"/>
            <p:cNvGrpSpPr/>
            <p:nvPr/>
          </p:nvGrpSpPr>
          <p:grpSpPr>
            <a:xfrm>
              <a:off x="1672792" y="2754433"/>
              <a:ext cx="1186564" cy="137068"/>
              <a:chOff x="178955" y="1936918"/>
              <a:chExt cx="1186564" cy="177061"/>
            </a:xfrm>
          </p:grpSpPr>
          <p:sp>
            <p:nvSpPr>
              <p:cNvPr id="178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8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79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798" name="Group 1797"/>
            <p:cNvGrpSpPr/>
            <p:nvPr/>
          </p:nvGrpSpPr>
          <p:grpSpPr>
            <a:xfrm>
              <a:off x="1672792" y="2905441"/>
              <a:ext cx="1186564" cy="137068"/>
              <a:chOff x="178955" y="1936918"/>
              <a:chExt cx="1186564" cy="177061"/>
            </a:xfrm>
          </p:grpSpPr>
          <p:sp>
            <p:nvSpPr>
              <p:cNvPr id="179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0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13" name="Group 1812"/>
            <p:cNvGrpSpPr/>
            <p:nvPr/>
          </p:nvGrpSpPr>
          <p:grpSpPr>
            <a:xfrm>
              <a:off x="1672792" y="3056448"/>
              <a:ext cx="1186564" cy="137068"/>
              <a:chOff x="178955" y="1936918"/>
              <a:chExt cx="1186564" cy="177061"/>
            </a:xfrm>
          </p:grpSpPr>
          <p:sp>
            <p:nvSpPr>
              <p:cNvPr id="181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1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2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28" name="Group 1827"/>
            <p:cNvGrpSpPr/>
            <p:nvPr/>
          </p:nvGrpSpPr>
          <p:grpSpPr>
            <a:xfrm>
              <a:off x="1672792" y="3207456"/>
              <a:ext cx="1186564" cy="137068"/>
              <a:chOff x="178955" y="1936918"/>
              <a:chExt cx="1186564" cy="177061"/>
            </a:xfrm>
          </p:grpSpPr>
          <p:sp>
            <p:nvSpPr>
              <p:cNvPr id="182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3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43" name="Group 1842"/>
            <p:cNvGrpSpPr/>
            <p:nvPr/>
          </p:nvGrpSpPr>
          <p:grpSpPr>
            <a:xfrm>
              <a:off x="1672792" y="3358464"/>
              <a:ext cx="1186564" cy="137068"/>
              <a:chOff x="178955" y="1936918"/>
              <a:chExt cx="1186564" cy="177061"/>
            </a:xfrm>
          </p:grpSpPr>
          <p:sp>
            <p:nvSpPr>
              <p:cNvPr id="184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4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5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58" name="Group 1857"/>
            <p:cNvGrpSpPr/>
            <p:nvPr/>
          </p:nvGrpSpPr>
          <p:grpSpPr>
            <a:xfrm>
              <a:off x="1672792" y="3509471"/>
              <a:ext cx="1186564" cy="137068"/>
              <a:chOff x="178955" y="1936918"/>
              <a:chExt cx="1186564" cy="177061"/>
            </a:xfrm>
          </p:grpSpPr>
          <p:sp>
            <p:nvSpPr>
              <p:cNvPr id="185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6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73" name="Group 1872"/>
            <p:cNvGrpSpPr/>
            <p:nvPr/>
          </p:nvGrpSpPr>
          <p:grpSpPr>
            <a:xfrm>
              <a:off x="1672792" y="3660479"/>
              <a:ext cx="1186564" cy="137068"/>
              <a:chOff x="178955" y="1936918"/>
              <a:chExt cx="1186564" cy="177061"/>
            </a:xfrm>
          </p:grpSpPr>
          <p:sp>
            <p:nvSpPr>
              <p:cNvPr id="187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7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8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888" name="Group 1887"/>
            <p:cNvGrpSpPr/>
            <p:nvPr/>
          </p:nvGrpSpPr>
          <p:grpSpPr>
            <a:xfrm>
              <a:off x="1672792" y="3811487"/>
              <a:ext cx="1186564" cy="137068"/>
              <a:chOff x="178955" y="1936918"/>
              <a:chExt cx="1186564" cy="177061"/>
            </a:xfrm>
          </p:grpSpPr>
          <p:sp>
            <p:nvSpPr>
              <p:cNvPr id="188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89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903" name="Group 1902"/>
            <p:cNvGrpSpPr/>
            <p:nvPr/>
          </p:nvGrpSpPr>
          <p:grpSpPr>
            <a:xfrm>
              <a:off x="1672792" y="3962494"/>
              <a:ext cx="1186564" cy="137068"/>
              <a:chOff x="178955" y="1936918"/>
              <a:chExt cx="1186564" cy="177061"/>
            </a:xfrm>
          </p:grpSpPr>
          <p:sp>
            <p:nvSpPr>
              <p:cNvPr id="190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0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1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918" name="Group 1917"/>
            <p:cNvGrpSpPr/>
            <p:nvPr/>
          </p:nvGrpSpPr>
          <p:grpSpPr>
            <a:xfrm>
              <a:off x="1672792" y="4113502"/>
              <a:ext cx="1186564" cy="137068"/>
              <a:chOff x="178955" y="1936918"/>
              <a:chExt cx="1186564" cy="177061"/>
            </a:xfrm>
          </p:grpSpPr>
          <p:sp>
            <p:nvSpPr>
              <p:cNvPr id="191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2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3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3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3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1934" name="Freeform 13"/>
            <p:cNvSpPr>
              <a:spLocks noEditPoints="1"/>
            </p:cNvSpPr>
            <p:nvPr/>
          </p:nvSpPr>
          <p:spPr bwMode="auto">
            <a:xfrm>
              <a:off x="1672792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35" name="Freeform 13"/>
            <p:cNvSpPr>
              <a:spLocks noEditPoints="1"/>
            </p:cNvSpPr>
            <p:nvPr/>
          </p:nvSpPr>
          <p:spPr bwMode="auto">
            <a:xfrm>
              <a:off x="175909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36" name="Freeform 13"/>
            <p:cNvSpPr>
              <a:spLocks noEditPoints="1"/>
            </p:cNvSpPr>
            <p:nvPr/>
          </p:nvSpPr>
          <p:spPr bwMode="auto">
            <a:xfrm>
              <a:off x="184539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37" name="Freeform 13"/>
            <p:cNvSpPr>
              <a:spLocks noEditPoints="1"/>
            </p:cNvSpPr>
            <p:nvPr/>
          </p:nvSpPr>
          <p:spPr bwMode="auto">
            <a:xfrm>
              <a:off x="193169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38" name="Freeform 13"/>
            <p:cNvSpPr>
              <a:spLocks noEditPoints="1"/>
            </p:cNvSpPr>
            <p:nvPr/>
          </p:nvSpPr>
          <p:spPr bwMode="auto">
            <a:xfrm>
              <a:off x="201799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39" name="Freeform 13"/>
            <p:cNvSpPr>
              <a:spLocks noEditPoints="1"/>
            </p:cNvSpPr>
            <p:nvPr/>
          </p:nvSpPr>
          <p:spPr bwMode="auto">
            <a:xfrm>
              <a:off x="210429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0" name="Freeform 13"/>
            <p:cNvSpPr>
              <a:spLocks noEditPoints="1"/>
            </p:cNvSpPr>
            <p:nvPr/>
          </p:nvSpPr>
          <p:spPr bwMode="auto">
            <a:xfrm>
              <a:off x="219059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1" name="Freeform 13"/>
            <p:cNvSpPr>
              <a:spLocks noEditPoints="1"/>
            </p:cNvSpPr>
            <p:nvPr/>
          </p:nvSpPr>
          <p:spPr bwMode="auto">
            <a:xfrm>
              <a:off x="227688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2" name="Freeform 13"/>
            <p:cNvSpPr>
              <a:spLocks noEditPoints="1"/>
            </p:cNvSpPr>
            <p:nvPr/>
          </p:nvSpPr>
          <p:spPr bwMode="auto">
            <a:xfrm>
              <a:off x="236318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3" name="Freeform 13"/>
            <p:cNvSpPr>
              <a:spLocks noEditPoints="1"/>
            </p:cNvSpPr>
            <p:nvPr/>
          </p:nvSpPr>
          <p:spPr bwMode="auto">
            <a:xfrm>
              <a:off x="244948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4" name="Freeform 13"/>
            <p:cNvSpPr>
              <a:spLocks noEditPoints="1"/>
            </p:cNvSpPr>
            <p:nvPr/>
          </p:nvSpPr>
          <p:spPr bwMode="auto">
            <a:xfrm>
              <a:off x="253578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5" name="Freeform 13"/>
            <p:cNvSpPr>
              <a:spLocks noEditPoints="1"/>
            </p:cNvSpPr>
            <p:nvPr/>
          </p:nvSpPr>
          <p:spPr bwMode="auto">
            <a:xfrm>
              <a:off x="2622088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6" name="Freeform 13"/>
            <p:cNvSpPr>
              <a:spLocks noEditPoints="1"/>
            </p:cNvSpPr>
            <p:nvPr/>
          </p:nvSpPr>
          <p:spPr bwMode="auto">
            <a:xfrm>
              <a:off x="2708388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7" name="Freeform 13"/>
            <p:cNvSpPr>
              <a:spLocks noEditPoints="1"/>
            </p:cNvSpPr>
            <p:nvPr/>
          </p:nvSpPr>
          <p:spPr bwMode="auto">
            <a:xfrm>
              <a:off x="2794686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49" name="Freeform 13"/>
            <p:cNvSpPr>
              <a:spLocks noEditPoints="1"/>
            </p:cNvSpPr>
            <p:nvPr/>
          </p:nvSpPr>
          <p:spPr bwMode="auto">
            <a:xfrm>
              <a:off x="1672792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0" name="Freeform 13"/>
            <p:cNvSpPr>
              <a:spLocks noEditPoints="1"/>
            </p:cNvSpPr>
            <p:nvPr/>
          </p:nvSpPr>
          <p:spPr bwMode="auto">
            <a:xfrm>
              <a:off x="1759091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1" name="Freeform 13"/>
            <p:cNvSpPr>
              <a:spLocks noEditPoints="1"/>
            </p:cNvSpPr>
            <p:nvPr/>
          </p:nvSpPr>
          <p:spPr bwMode="auto">
            <a:xfrm>
              <a:off x="1845391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2" name="Freeform 13"/>
            <p:cNvSpPr>
              <a:spLocks noEditPoints="1"/>
            </p:cNvSpPr>
            <p:nvPr/>
          </p:nvSpPr>
          <p:spPr bwMode="auto">
            <a:xfrm>
              <a:off x="1931690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3" name="Freeform 13"/>
            <p:cNvSpPr>
              <a:spLocks noEditPoints="1"/>
            </p:cNvSpPr>
            <p:nvPr/>
          </p:nvSpPr>
          <p:spPr bwMode="auto">
            <a:xfrm>
              <a:off x="2017991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4" name="Freeform 13"/>
            <p:cNvSpPr>
              <a:spLocks noEditPoints="1"/>
            </p:cNvSpPr>
            <p:nvPr/>
          </p:nvSpPr>
          <p:spPr bwMode="auto">
            <a:xfrm>
              <a:off x="2104290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5" name="Freeform 13"/>
            <p:cNvSpPr>
              <a:spLocks noEditPoints="1"/>
            </p:cNvSpPr>
            <p:nvPr/>
          </p:nvSpPr>
          <p:spPr bwMode="auto">
            <a:xfrm>
              <a:off x="2190590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6" name="Freeform 13"/>
            <p:cNvSpPr>
              <a:spLocks noEditPoints="1"/>
            </p:cNvSpPr>
            <p:nvPr/>
          </p:nvSpPr>
          <p:spPr bwMode="auto">
            <a:xfrm>
              <a:off x="227688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7" name="Freeform 13"/>
            <p:cNvSpPr>
              <a:spLocks noEditPoints="1"/>
            </p:cNvSpPr>
            <p:nvPr/>
          </p:nvSpPr>
          <p:spPr bwMode="auto">
            <a:xfrm>
              <a:off x="236318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8" name="Freeform 13"/>
            <p:cNvSpPr>
              <a:spLocks noEditPoints="1"/>
            </p:cNvSpPr>
            <p:nvPr/>
          </p:nvSpPr>
          <p:spPr bwMode="auto">
            <a:xfrm>
              <a:off x="244948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59" name="Freeform 13"/>
            <p:cNvSpPr>
              <a:spLocks noEditPoints="1"/>
            </p:cNvSpPr>
            <p:nvPr/>
          </p:nvSpPr>
          <p:spPr bwMode="auto">
            <a:xfrm>
              <a:off x="253578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0" name="Freeform 13"/>
            <p:cNvSpPr>
              <a:spLocks noEditPoints="1"/>
            </p:cNvSpPr>
            <p:nvPr/>
          </p:nvSpPr>
          <p:spPr bwMode="auto">
            <a:xfrm>
              <a:off x="2622088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1" name="Freeform 13"/>
            <p:cNvSpPr>
              <a:spLocks noEditPoints="1"/>
            </p:cNvSpPr>
            <p:nvPr/>
          </p:nvSpPr>
          <p:spPr bwMode="auto">
            <a:xfrm>
              <a:off x="2708388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2" name="Freeform 13"/>
            <p:cNvSpPr>
              <a:spLocks noEditPoints="1"/>
            </p:cNvSpPr>
            <p:nvPr/>
          </p:nvSpPr>
          <p:spPr bwMode="auto">
            <a:xfrm>
              <a:off x="2794686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4" name="Freeform 13"/>
            <p:cNvSpPr>
              <a:spLocks noEditPoints="1"/>
            </p:cNvSpPr>
            <p:nvPr/>
          </p:nvSpPr>
          <p:spPr bwMode="auto">
            <a:xfrm>
              <a:off x="1672792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5" name="Freeform 13"/>
            <p:cNvSpPr>
              <a:spLocks noEditPoints="1"/>
            </p:cNvSpPr>
            <p:nvPr/>
          </p:nvSpPr>
          <p:spPr bwMode="auto">
            <a:xfrm>
              <a:off x="1759091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6" name="Freeform 13"/>
            <p:cNvSpPr>
              <a:spLocks noEditPoints="1"/>
            </p:cNvSpPr>
            <p:nvPr/>
          </p:nvSpPr>
          <p:spPr bwMode="auto">
            <a:xfrm>
              <a:off x="1845391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7" name="Freeform 13"/>
            <p:cNvSpPr>
              <a:spLocks noEditPoints="1"/>
            </p:cNvSpPr>
            <p:nvPr/>
          </p:nvSpPr>
          <p:spPr bwMode="auto">
            <a:xfrm>
              <a:off x="1931690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8" name="Freeform 13"/>
            <p:cNvSpPr>
              <a:spLocks noEditPoints="1"/>
            </p:cNvSpPr>
            <p:nvPr/>
          </p:nvSpPr>
          <p:spPr bwMode="auto">
            <a:xfrm>
              <a:off x="2017991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66C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69" name="Freeform 13"/>
            <p:cNvSpPr>
              <a:spLocks noEditPoints="1"/>
            </p:cNvSpPr>
            <p:nvPr/>
          </p:nvSpPr>
          <p:spPr bwMode="auto">
            <a:xfrm>
              <a:off x="2104290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0" name="Freeform 13"/>
            <p:cNvSpPr>
              <a:spLocks noEditPoints="1"/>
            </p:cNvSpPr>
            <p:nvPr/>
          </p:nvSpPr>
          <p:spPr bwMode="auto">
            <a:xfrm>
              <a:off x="2190590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1" name="Freeform 13"/>
            <p:cNvSpPr>
              <a:spLocks noEditPoints="1"/>
            </p:cNvSpPr>
            <p:nvPr/>
          </p:nvSpPr>
          <p:spPr bwMode="auto">
            <a:xfrm>
              <a:off x="2276889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2" name="Freeform 13"/>
            <p:cNvSpPr>
              <a:spLocks noEditPoints="1"/>
            </p:cNvSpPr>
            <p:nvPr/>
          </p:nvSpPr>
          <p:spPr bwMode="auto">
            <a:xfrm>
              <a:off x="2363189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3" name="Freeform 13"/>
            <p:cNvSpPr>
              <a:spLocks noEditPoints="1"/>
            </p:cNvSpPr>
            <p:nvPr/>
          </p:nvSpPr>
          <p:spPr bwMode="auto">
            <a:xfrm>
              <a:off x="2449489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4" name="Freeform 13"/>
            <p:cNvSpPr>
              <a:spLocks noEditPoints="1"/>
            </p:cNvSpPr>
            <p:nvPr/>
          </p:nvSpPr>
          <p:spPr bwMode="auto">
            <a:xfrm>
              <a:off x="2535789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5" name="Freeform 13"/>
            <p:cNvSpPr>
              <a:spLocks noEditPoints="1"/>
            </p:cNvSpPr>
            <p:nvPr/>
          </p:nvSpPr>
          <p:spPr bwMode="auto">
            <a:xfrm>
              <a:off x="2622088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6" name="Freeform 13"/>
            <p:cNvSpPr>
              <a:spLocks noEditPoints="1"/>
            </p:cNvSpPr>
            <p:nvPr/>
          </p:nvSpPr>
          <p:spPr bwMode="auto">
            <a:xfrm>
              <a:off x="2708388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1977" name="Freeform 13"/>
            <p:cNvSpPr>
              <a:spLocks noEditPoints="1"/>
            </p:cNvSpPr>
            <p:nvPr/>
          </p:nvSpPr>
          <p:spPr bwMode="auto">
            <a:xfrm>
              <a:off x="2794686" y="45665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1978" name="Group 1977"/>
            <p:cNvGrpSpPr/>
            <p:nvPr/>
          </p:nvGrpSpPr>
          <p:grpSpPr>
            <a:xfrm>
              <a:off x="1672792" y="4717533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197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8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1993" name="Group 1992"/>
            <p:cNvGrpSpPr/>
            <p:nvPr/>
          </p:nvGrpSpPr>
          <p:grpSpPr>
            <a:xfrm>
              <a:off x="1672792" y="4868540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199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199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0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009" name="Freeform 13"/>
            <p:cNvSpPr>
              <a:spLocks noEditPoints="1"/>
            </p:cNvSpPr>
            <p:nvPr/>
          </p:nvSpPr>
          <p:spPr bwMode="auto">
            <a:xfrm>
              <a:off x="1672792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0" name="Freeform 13"/>
            <p:cNvSpPr>
              <a:spLocks noEditPoints="1"/>
            </p:cNvSpPr>
            <p:nvPr/>
          </p:nvSpPr>
          <p:spPr bwMode="auto">
            <a:xfrm>
              <a:off x="175909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1" name="Freeform 13"/>
            <p:cNvSpPr>
              <a:spLocks noEditPoints="1"/>
            </p:cNvSpPr>
            <p:nvPr/>
          </p:nvSpPr>
          <p:spPr bwMode="auto">
            <a:xfrm>
              <a:off x="184539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2" name="Freeform 13"/>
            <p:cNvSpPr>
              <a:spLocks noEditPoints="1"/>
            </p:cNvSpPr>
            <p:nvPr/>
          </p:nvSpPr>
          <p:spPr bwMode="auto">
            <a:xfrm>
              <a:off x="193169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3" name="Freeform 13"/>
            <p:cNvSpPr>
              <a:spLocks noEditPoints="1"/>
            </p:cNvSpPr>
            <p:nvPr/>
          </p:nvSpPr>
          <p:spPr bwMode="auto">
            <a:xfrm>
              <a:off x="201799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4" name="Freeform 13"/>
            <p:cNvSpPr>
              <a:spLocks noEditPoints="1"/>
            </p:cNvSpPr>
            <p:nvPr/>
          </p:nvSpPr>
          <p:spPr bwMode="auto">
            <a:xfrm>
              <a:off x="210429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5" name="Freeform 13"/>
            <p:cNvSpPr>
              <a:spLocks noEditPoints="1"/>
            </p:cNvSpPr>
            <p:nvPr/>
          </p:nvSpPr>
          <p:spPr bwMode="auto">
            <a:xfrm>
              <a:off x="219059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6" name="Freeform 13"/>
            <p:cNvSpPr>
              <a:spLocks noEditPoints="1"/>
            </p:cNvSpPr>
            <p:nvPr/>
          </p:nvSpPr>
          <p:spPr bwMode="auto">
            <a:xfrm>
              <a:off x="227688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7" name="Freeform 13"/>
            <p:cNvSpPr>
              <a:spLocks noEditPoints="1"/>
            </p:cNvSpPr>
            <p:nvPr/>
          </p:nvSpPr>
          <p:spPr bwMode="auto">
            <a:xfrm>
              <a:off x="236318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8" name="Freeform 13"/>
            <p:cNvSpPr>
              <a:spLocks noEditPoints="1"/>
            </p:cNvSpPr>
            <p:nvPr/>
          </p:nvSpPr>
          <p:spPr bwMode="auto">
            <a:xfrm>
              <a:off x="244948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19" name="Freeform 13"/>
            <p:cNvSpPr>
              <a:spLocks noEditPoints="1"/>
            </p:cNvSpPr>
            <p:nvPr/>
          </p:nvSpPr>
          <p:spPr bwMode="auto">
            <a:xfrm>
              <a:off x="253578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20" name="Freeform 13"/>
            <p:cNvSpPr>
              <a:spLocks noEditPoints="1"/>
            </p:cNvSpPr>
            <p:nvPr/>
          </p:nvSpPr>
          <p:spPr bwMode="auto">
            <a:xfrm>
              <a:off x="262208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 flip="none" rotWithShape="1">
              <a:gsLst>
                <a:gs pos="49000">
                  <a:srgbClr val="00B05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21" name="Freeform 13"/>
            <p:cNvSpPr>
              <a:spLocks noEditPoints="1"/>
            </p:cNvSpPr>
            <p:nvPr/>
          </p:nvSpPr>
          <p:spPr bwMode="auto">
            <a:xfrm>
              <a:off x="270838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22" name="Freeform 13"/>
            <p:cNvSpPr>
              <a:spLocks noEditPoints="1"/>
            </p:cNvSpPr>
            <p:nvPr/>
          </p:nvSpPr>
          <p:spPr bwMode="auto">
            <a:xfrm>
              <a:off x="2794686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cxnSp>
          <p:nvCxnSpPr>
            <p:cNvPr id="2023" name="Straight Connector 2022"/>
            <p:cNvCxnSpPr>
              <a:cxnSpLocks/>
            </p:cNvCxnSpPr>
            <p:nvPr/>
          </p:nvCxnSpPr>
          <p:spPr>
            <a:xfrm>
              <a:off x="3150514" y="5205483"/>
              <a:ext cx="1186564" cy="0"/>
            </a:xfrm>
            <a:prstGeom prst="line">
              <a:avLst/>
            </a:prstGeom>
            <a:solidFill>
              <a:srgbClr val="00B0F0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24" name="Straight Connector 2023"/>
            <p:cNvCxnSpPr>
              <a:cxnSpLocks/>
            </p:cNvCxnSpPr>
            <p:nvPr/>
          </p:nvCxnSpPr>
          <p:spPr>
            <a:xfrm>
              <a:off x="6016603" y="5205483"/>
              <a:ext cx="1186564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5" name="Straight Connector 2024"/>
            <p:cNvCxnSpPr>
              <a:cxnSpLocks/>
            </p:cNvCxnSpPr>
            <p:nvPr/>
          </p:nvCxnSpPr>
          <p:spPr>
            <a:xfrm>
              <a:off x="7460049" y="5205483"/>
              <a:ext cx="1186564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6" name="Straight Connector 2025"/>
            <p:cNvCxnSpPr>
              <a:cxnSpLocks/>
            </p:cNvCxnSpPr>
            <p:nvPr/>
          </p:nvCxnSpPr>
          <p:spPr>
            <a:xfrm>
              <a:off x="4585596" y="5205483"/>
              <a:ext cx="1197382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7" name="Straight Connector 2026"/>
            <p:cNvCxnSpPr>
              <a:cxnSpLocks/>
            </p:cNvCxnSpPr>
            <p:nvPr/>
          </p:nvCxnSpPr>
          <p:spPr>
            <a:xfrm>
              <a:off x="3144720" y="5205483"/>
              <a:ext cx="1186564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8" name="Straight Connector 2027"/>
            <p:cNvCxnSpPr>
              <a:cxnSpLocks/>
            </p:cNvCxnSpPr>
            <p:nvPr/>
          </p:nvCxnSpPr>
          <p:spPr>
            <a:xfrm>
              <a:off x="8919044" y="5205483"/>
              <a:ext cx="1186564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30" name="Group 2029"/>
            <p:cNvGrpSpPr/>
            <p:nvPr/>
          </p:nvGrpSpPr>
          <p:grpSpPr>
            <a:xfrm>
              <a:off x="3144720" y="1848387"/>
              <a:ext cx="1186564" cy="137068"/>
              <a:chOff x="178955" y="1936918"/>
              <a:chExt cx="1186564" cy="177061"/>
            </a:xfrm>
          </p:grpSpPr>
          <p:sp>
            <p:nvSpPr>
              <p:cNvPr id="234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5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6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1" name="Group 2030"/>
            <p:cNvGrpSpPr/>
            <p:nvPr/>
          </p:nvGrpSpPr>
          <p:grpSpPr>
            <a:xfrm>
              <a:off x="3144720" y="1999395"/>
              <a:ext cx="1186564" cy="137068"/>
              <a:chOff x="178955" y="1936918"/>
              <a:chExt cx="1186564" cy="177061"/>
            </a:xfrm>
          </p:grpSpPr>
          <p:sp>
            <p:nvSpPr>
              <p:cNvPr id="233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4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2" name="Group 2031"/>
            <p:cNvGrpSpPr/>
            <p:nvPr/>
          </p:nvGrpSpPr>
          <p:grpSpPr>
            <a:xfrm>
              <a:off x="3144720" y="2150402"/>
              <a:ext cx="1186564" cy="137068"/>
              <a:chOff x="178955" y="1936918"/>
              <a:chExt cx="1186564" cy="177061"/>
            </a:xfrm>
          </p:grpSpPr>
          <p:sp>
            <p:nvSpPr>
              <p:cNvPr id="231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2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3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3" name="Group 2032"/>
            <p:cNvGrpSpPr/>
            <p:nvPr/>
          </p:nvGrpSpPr>
          <p:grpSpPr>
            <a:xfrm>
              <a:off x="3144720" y="2301410"/>
              <a:ext cx="1186564" cy="137068"/>
              <a:chOff x="178955" y="1936918"/>
              <a:chExt cx="1186564" cy="177061"/>
            </a:xfrm>
          </p:grpSpPr>
          <p:sp>
            <p:nvSpPr>
              <p:cNvPr id="230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1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4" name="Group 2033"/>
            <p:cNvGrpSpPr/>
            <p:nvPr/>
          </p:nvGrpSpPr>
          <p:grpSpPr>
            <a:xfrm>
              <a:off x="3144720" y="2452418"/>
              <a:ext cx="1186564" cy="137068"/>
              <a:chOff x="178955" y="1936918"/>
              <a:chExt cx="1186564" cy="177061"/>
            </a:xfrm>
          </p:grpSpPr>
          <p:sp>
            <p:nvSpPr>
              <p:cNvPr id="229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0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5" name="Group 2034"/>
            <p:cNvGrpSpPr/>
            <p:nvPr/>
          </p:nvGrpSpPr>
          <p:grpSpPr>
            <a:xfrm>
              <a:off x="3144720" y="2603425"/>
              <a:ext cx="1186564" cy="137068"/>
              <a:chOff x="178955" y="1936918"/>
              <a:chExt cx="1186564" cy="177061"/>
            </a:xfrm>
          </p:grpSpPr>
          <p:sp>
            <p:nvSpPr>
              <p:cNvPr id="227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8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9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6" name="Group 2035"/>
            <p:cNvGrpSpPr/>
            <p:nvPr/>
          </p:nvGrpSpPr>
          <p:grpSpPr>
            <a:xfrm>
              <a:off x="3144720" y="2754433"/>
              <a:ext cx="1186564" cy="137068"/>
              <a:chOff x="178955" y="1936918"/>
              <a:chExt cx="1186564" cy="177061"/>
            </a:xfrm>
          </p:grpSpPr>
          <p:sp>
            <p:nvSpPr>
              <p:cNvPr id="226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7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7" name="Group 2036"/>
            <p:cNvGrpSpPr/>
            <p:nvPr/>
          </p:nvGrpSpPr>
          <p:grpSpPr>
            <a:xfrm>
              <a:off x="3144720" y="2905441"/>
              <a:ext cx="1186564" cy="137068"/>
              <a:chOff x="178955" y="1936918"/>
              <a:chExt cx="1186564" cy="177061"/>
            </a:xfrm>
          </p:grpSpPr>
          <p:sp>
            <p:nvSpPr>
              <p:cNvPr id="224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5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6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8" name="Group 2037"/>
            <p:cNvGrpSpPr/>
            <p:nvPr/>
          </p:nvGrpSpPr>
          <p:grpSpPr>
            <a:xfrm>
              <a:off x="3144720" y="3056448"/>
              <a:ext cx="1186564" cy="137068"/>
              <a:chOff x="178955" y="1936918"/>
              <a:chExt cx="1186564" cy="177061"/>
            </a:xfrm>
          </p:grpSpPr>
          <p:sp>
            <p:nvSpPr>
              <p:cNvPr id="223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4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39" name="Group 2038"/>
            <p:cNvGrpSpPr/>
            <p:nvPr/>
          </p:nvGrpSpPr>
          <p:grpSpPr>
            <a:xfrm>
              <a:off x="3144720" y="3207456"/>
              <a:ext cx="1186564" cy="137068"/>
              <a:chOff x="178955" y="1936918"/>
              <a:chExt cx="1186564" cy="177061"/>
            </a:xfrm>
          </p:grpSpPr>
          <p:sp>
            <p:nvSpPr>
              <p:cNvPr id="222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2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3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207" name="Freeform 13"/>
            <p:cNvSpPr>
              <a:spLocks noEditPoints="1"/>
            </p:cNvSpPr>
            <p:nvPr/>
          </p:nvSpPr>
          <p:spPr bwMode="auto">
            <a:xfrm>
              <a:off x="3144720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08" name="Freeform 13"/>
            <p:cNvSpPr>
              <a:spLocks noEditPoints="1"/>
            </p:cNvSpPr>
            <p:nvPr/>
          </p:nvSpPr>
          <p:spPr bwMode="auto">
            <a:xfrm>
              <a:off x="3231019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09" name="Freeform 13"/>
            <p:cNvSpPr>
              <a:spLocks noEditPoints="1"/>
            </p:cNvSpPr>
            <p:nvPr/>
          </p:nvSpPr>
          <p:spPr bwMode="auto">
            <a:xfrm>
              <a:off x="3317319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0" name="Freeform 13"/>
            <p:cNvSpPr>
              <a:spLocks noEditPoints="1"/>
            </p:cNvSpPr>
            <p:nvPr/>
          </p:nvSpPr>
          <p:spPr bwMode="auto">
            <a:xfrm>
              <a:off x="3403618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1" name="Freeform 13"/>
            <p:cNvSpPr>
              <a:spLocks noEditPoints="1"/>
            </p:cNvSpPr>
            <p:nvPr/>
          </p:nvSpPr>
          <p:spPr bwMode="auto">
            <a:xfrm>
              <a:off x="3489919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2" name="Freeform 13"/>
            <p:cNvSpPr>
              <a:spLocks noEditPoints="1"/>
            </p:cNvSpPr>
            <p:nvPr/>
          </p:nvSpPr>
          <p:spPr bwMode="auto">
            <a:xfrm>
              <a:off x="3576218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3" name="Freeform 13"/>
            <p:cNvSpPr>
              <a:spLocks noEditPoints="1"/>
            </p:cNvSpPr>
            <p:nvPr/>
          </p:nvSpPr>
          <p:spPr bwMode="auto">
            <a:xfrm>
              <a:off x="3662518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4" name="Freeform 13"/>
            <p:cNvSpPr>
              <a:spLocks noEditPoints="1"/>
            </p:cNvSpPr>
            <p:nvPr/>
          </p:nvSpPr>
          <p:spPr bwMode="auto">
            <a:xfrm>
              <a:off x="3748817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5" name="Freeform 13"/>
            <p:cNvSpPr>
              <a:spLocks noEditPoints="1"/>
            </p:cNvSpPr>
            <p:nvPr/>
          </p:nvSpPr>
          <p:spPr bwMode="auto">
            <a:xfrm>
              <a:off x="3835117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6" name="Freeform 13"/>
            <p:cNvSpPr>
              <a:spLocks noEditPoints="1"/>
            </p:cNvSpPr>
            <p:nvPr/>
          </p:nvSpPr>
          <p:spPr bwMode="auto">
            <a:xfrm>
              <a:off x="3921417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7" name="Freeform 13"/>
            <p:cNvSpPr>
              <a:spLocks noEditPoints="1"/>
            </p:cNvSpPr>
            <p:nvPr/>
          </p:nvSpPr>
          <p:spPr bwMode="auto">
            <a:xfrm>
              <a:off x="4007717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8" name="Freeform 13"/>
            <p:cNvSpPr>
              <a:spLocks noEditPoints="1"/>
            </p:cNvSpPr>
            <p:nvPr/>
          </p:nvSpPr>
          <p:spPr bwMode="auto">
            <a:xfrm>
              <a:off x="4094016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19" name="Freeform 13"/>
            <p:cNvSpPr>
              <a:spLocks noEditPoints="1"/>
            </p:cNvSpPr>
            <p:nvPr/>
          </p:nvSpPr>
          <p:spPr bwMode="auto">
            <a:xfrm>
              <a:off x="4180316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220" name="Freeform 13"/>
            <p:cNvSpPr>
              <a:spLocks noEditPoints="1"/>
            </p:cNvSpPr>
            <p:nvPr/>
          </p:nvSpPr>
          <p:spPr bwMode="auto">
            <a:xfrm>
              <a:off x="4266614" y="3358464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FF660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041" name="Group 2040"/>
            <p:cNvGrpSpPr/>
            <p:nvPr/>
          </p:nvGrpSpPr>
          <p:grpSpPr>
            <a:xfrm>
              <a:off x="3144720" y="3509471"/>
              <a:ext cx="1186564" cy="137068"/>
              <a:chOff x="178955" y="1936918"/>
              <a:chExt cx="1186564" cy="177061"/>
            </a:xfrm>
            <a:solidFill>
              <a:srgbClr val="FF6600"/>
            </a:solidFill>
          </p:grpSpPr>
          <p:sp>
            <p:nvSpPr>
              <p:cNvPr id="219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9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20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178" name="Freeform 13"/>
            <p:cNvSpPr>
              <a:spLocks noEditPoints="1"/>
            </p:cNvSpPr>
            <p:nvPr/>
          </p:nvSpPr>
          <p:spPr bwMode="auto">
            <a:xfrm>
              <a:off x="3144720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79" name="Freeform 13"/>
            <p:cNvSpPr>
              <a:spLocks noEditPoints="1"/>
            </p:cNvSpPr>
            <p:nvPr/>
          </p:nvSpPr>
          <p:spPr bwMode="auto">
            <a:xfrm>
              <a:off x="3231019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0" name="Freeform 13"/>
            <p:cNvSpPr>
              <a:spLocks noEditPoints="1"/>
            </p:cNvSpPr>
            <p:nvPr/>
          </p:nvSpPr>
          <p:spPr bwMode="auto">
            <a:xfrm>
              <a:off x="3317319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1" name="Freeform 13"/>
            <p:cNvSpPr>
              <a:spLocks noEditPoints="1"/>
            </p:cNvSpPr>
            <p:nvPr/>
          </p:nvSpPr>
          <p:spPr bwMode="auto">
            <a:xfrm>
              <a:off x="3403618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2" name="Freeform 13"/>
            <p:cNvSpPr>
              <a:spLocks noEditPoints="1"/>
            </p:cNvSpPr>
            <p:nvPr/>
          </p:nvSpPr>
          <p:spPr bwMode="auto">
            <a:xfrm>
              <a:off x="3489919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3" name="Freeform 13"/>
            <p:cNvSpPr>
              <a:spLocks noEditPoints="1"/>
            </p:cNvSpPr>
            <p:nvPr/>
          </p:nvSpPr>
          <p:spPr bwMode="auto">
            <a:xfrm>
              <a:off x="3576218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4" name="Freeform 13"/>
            <p:cNvSpPr>
              <a:spLocks noEditPoints="1"/>
            </p:cNvSpPr>
            <p:nvPr/>
          </p:nvSpPr>
          <p:spPr bwMode="auto">
            <a:xfrm>
              <a:off x="3662518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6" name="Freeform 13"/>
            <p:cNvSpPr>
              <a:spLocks noEditPoints="1"/>
            </p:cNvSpPr>
            <p:nvPr/>
          </p:nvSpPr>
          <p:spPr bwMode="auto">
            <a:xfrm>
              <a:off x="3748817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7" name="Freeform 13"/>
            <p:cNvSpPr>
              <a:spLocks noEditPoints="1"/>
            </p:cNvSpPr>
            <p:nvPr/>
          </p:nvSpPr>
          <p:spPr bwMode="auto">
            <a:xfrm>
              <a:off x="3835117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8" name="Freeform 13"/>
            <p:cNvSpPr>
              <a:spLocks noEditPoints="1"/>
            </p:cNvSpPr>
            <p:nvPr/>
          </p:nvSpPr>
          <p:spPr bwMode="auto">
            <a:xfrm>
              <a:off x="3921417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89" name="Freeform 13"/>
            <p:cNvSpPr>
              <a:spLocks noEditPoints="1"/>
            </p:cNvSpPr>
            <p:nvPr/>
          </p:nvSpPr>
          <p:spPr bwMode="auto">
            <a:xfrm>
              <a:off x="4007717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90" name="Freeform 13"/>
            <p:cNvSpPr>
              <a:spLocks noEditPoints="1"/>
            </p:cNvSpPr>
            <p:nvPr/>
          </p:nvSpPr>
          <p:spPr bwMode="auto">
            <a:xfrm>
              <a:off x="4094016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91" name="Freeform 13"/>
            <p:cNvSpPr>
              <a:spLocks noEditPoints="1"/>
            </p:cNvSpPr>
            <p:nvPr/>
          </p:nvSpPr>
          <p:spPr bwMode="auto">
            <a:xfrm>
              <a:off x="4180316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92" name="Freeform 13"/>
            <p:cNvSpPr>
              <a:spLocks noEditPoints="1"/>
            </p:cNvSpPr>
            <p:nvPr/>
          </p:nvSpPr>
          <p:spPr bwMode="auto">
            <a:xfrm>
              <a:off x="4266614" y="3660479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043" name="Group 2042"/>
            <p:cNvGrpSpPr/>
            <p:nvPr/>
          </p:nvGrpSpPr>
          <p:grpSpPr>
            <a:xfrm>
              <a:off x="3144720" y="3811487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216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7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44" name="Group 2043"/>
            <p:cNvGrpSpPr/>
            <p:nvPr/>
          </p:nvGrpSpPr>
          <p:grpSpPr>
            <a:xfrm>
              <a:off x="3144720" y="3962494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215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5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6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45" name="Group 2044"/>
            <p:cNvGrpSpPr/>
            <p:nvPr/>
          </p:nvGrpSpPr>
          <p:grpSpPr>
            <a:xfrm>
              <a:off x="3144720" y="4113502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213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4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46" name="Group 2045"/>
            <p:cNvGrpSpPr/>
            <p:nvPr/>
          </p:nvGrpSpPr>
          <p:grpSpPr>
            <a:xfrm>
              <a:off x="3144720" y="4264510"/>
              <a:ext cx="1186564" cy="137068"/>
              <a:chOff x="178955" y="1936918"/>
              <a:chExt cx="1186564" cy="177061"/>
            </a:xfrm>
            <a:solidFill>
              <a:srgbClr val="7030A0"/>
            </a:solidFill>
          </p:grpSpPr>
          <p:sp>
            <p:nvSpPr>
              <p:cNvPr id="212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2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3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108" name="Freeform 13"/>
            <p:cNvSpPr>
              <a:spLocks noEditPoints="1"/>
            </p:cNvSpPr>
            <p:nvPr/>
          </p:nvSpPr>
          <p:spPr bwMode="auto">
            <a:xfrm>
              <a:off x="3144720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09" name="Freeform 13"/>
            <p:cNvSpPr>
              <a:spLocks noEditPoints="1"/>
            </p:cNvSpPr>
            <p:nvPr/>
          </p:nvSpPr>
          <p:spPr bwMode="auto">
            <a:xfrm>
              <a:off x="323101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0" name="Freeform 13"/>
            <p:cNvSpPr>
              <a:spLocks noEditPoints="1"/>
            </p:cNvSpPr>
            <p:nvPr/>
          </p:nvSpPr>
          <p:spPr bwMode="auto">
            <a:xfrm>
              <a:off x="331731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1" name="Freeform 13"/>
            <p:cNvSpPr>
              <a:spLocks noEditPoints="1"/>
            </p:cNvSpPr>
            <p:nvPr/>
          </p:nvSpPr>
          <p:spPr bwMode="auto">
            <a:xfrm>
              <a:off x="3403618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2" name="Freeform 13"/>
            <p:cNvSpPr>
              <a:spLocks noEditPoints="1"/>
            </p:cNvSpPr>
            <p:nvPr/>
          </p:nvSpPr>
          <p:spPr bwMode="auto">
            <a:xfrm>
              <a:off x="3489919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3" name="Freeform 13"/>
            <p:cNvSpPr>
              <a:spLocks noEditPoints="1"/>
            </p:cNvSpPr>
            <p:nvPr/>
          </p:nvSpPr>
          <p:spPr bwMode="auto">
            <a:xfrm>
              <a:off x="3576218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4" name="Freeform 13"/>
            <p:cNvSpPr>
              <a:spLocks noEditPoints="1"/>
            </p:cNvSpPr>
            <p:nvPr/>
          </p:nvSpPr>
          <p:spPr bwMode="auto">
            <a:xfrm>
              <a:off x="3662518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5" name="Freeform 13"/>
            <p:cNvSpPr>
              <a:spLocks noEditPoints="1"/>
            </p:cNvSpPr>
            <p:nvPr/>
          </p:nvSpPr>
          <p:spPr bwMode="auto">
            <a:xfrm>
              <a:off x="3748817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6" name="Freeform 13"/>
            <p:cNvSpPr>
              <a:spLocks noEditPoints="1"/>
            </p:cNvSpPr>
            <p:nvPr/>
          </p:nvSpPr>
          <p:spPr bwMode="auto">
            <a:xfrm>
              <a:off x="3835117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00B0F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7" name="Freeform 13"/>
            <p:cNvSpPr>
              <a:spLocks noEditPoints="1"/>
            </p:cNvSpPr>
            <p:nvPr/>
          </p:nvSpPr>
          <p:spPr bwMode="auto">
            <a:xfrm>
              <a:off x="3921417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8" name="Freeform 13"/>
            <p:cNvSpPr>
              <a:spLocks noEditPoints="1"/>
            </p:cNvSpPr>
            <p:nvPr/>
          </p:nvSpPr>
          <p:spPr bwMode="auto">
            <a:xfrm>
              <a:off x="4007717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19" name="Freeform 13"/>
            <p:cNvSpPr>
              <a:spLocks noEditPoints="1"/>
            </p:cNvSpPr>
            <p:nvPr/>
          </p:nvSpPr>
          <p:spPr bwMode="auto">
            <a:xfrm>
              <a:off x="4094016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20" name="Freeform 13"/>
            <p:cNvSpPr>
              <a:spLocks noEditPoints="1"/>
            </p:cNvSpPr>
            <p:nvPr/>
          </p:nvSpPr>
          <p:spPr bwMode="auto">
            <a:xfrm>
              <a:off x="4180316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121" name="Freeform 13"/>
            <p:cNvSpPr>
              <a:spLocks noEditPoints="1"/>
            </p:cNvSpPr>
            <p:nvPr/>
          </p:nvSpPr>
          <p:spPr bwMode="auto">
            <a:xfrm>
              <a:off x="4266614" y="441551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048" name="Group 2047"/>
            <p:cNvGrpSpPr/>
            <p:nvPr/>
          </p:nvGrpSpPr>
          <p:grpSpPr>
            <a:xfrm>
              <a:off x="3144720" y="4566525"/>
              <a:ext cx="1186564" cy="137068"/>
              <a:chOff x="178955" y="1936918"/>
              <a:chExt cx="1186564" cy="177061"/>
            </a:xfrm>
            <a:solidFill>
              <a:srgbClr val="00B0F0"/>
            </a:solidFill>
          </p:grpSpPr>
          <p:sp>
            <p:nvSpPr>
              <p:cNvPr id="209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10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049" name="Group 2048"/>
            <p:cNvGrpSpPr/>
            <p:nvPr/>
          </p:nvGrpSpPr>
          <p:grpSpPr>
            <a:xfrm>
              <a:off x="3144720" y="4717533"/>
              <a:ext cx="1186564" cy="137068"/>
              <a:chOff x="178955" y="1936918"/>
              <a:chExt cx="1186564" cy="177061"/>
            </a:xfrm>
            <a:solidFill>
              <a:srgbClr val="00B0F0"/>
            </a:solidFill>
          </p:grpSpPr>
          <p:sp>
            <p:nvSpPr>
              <p:cNvPr id="208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8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09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066" name="Freeform 13"/>
            <p:cNvSpPr>
              <a:spLocks noEditPoints="1"/>
            </p:cNvSpPr>
            <p:nvPr/>
          </p:nvSpPr>
          <p:spPr bwMode="auto">
            <a:xfrm>
              <a:off x="3144720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7" name="Freeform 13"/>
            <p:cNvSpPr>
              <a:spLocks noEditPoints="1"/>
            </p:cNvSpPr>
            <p:nvPr/>
          </p:nvSpPr>
          <p:spPr bwMode="auto">
            <a:xfrm>
              <a:off x="3231019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8" name="Freeform 13"/>
            <p:cNvSpPr>
              <a:spLocks noEditPoints="1"/>
            </p:cNvSpPr>
            <p:nvPr/>
          </p:nvSpPr>
          <p:spPr bwMode="auto">
            <a:xfrm>
              <a:off x="3317319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9" name="Freeform 13"/>
            <p:cNvSpPr>
              <a:spLocks noEditPoints="1"/>
            </p:cNvSpPr>
            <p:nvPr/>
          </p:nvSpPr>
          <p:spPr bwMode="auto">
            <a:xfrm>
              <a:off x="340361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0" name="Freeform 13"/>
            <p:cNvSpPr>
              <a:spLocks noEditPoints="1"/>
            </p:cNvSpPr>
            <p:nvPr/>
          </p:nvSpPr>
          <p:spPr bwMode="auto">
            <a:xfrm>
              <a:off x="3489919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1" name="Freeform 13"/>
            <p:cNvSpPr>
              <a:spLocks noEditPoints="1"/>
            </p:cNvSpPr>
            <p:nvPr/>
          </p:nvSpPr>
          <p:spPr bwMode="auto">
            <a:xfrm>
              <a:off x="357621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2" name="Freeform 13"/>
            <p:cNvSpPr>
              <a:spLocks noEditPoints="1"/>
            </p:cNvSpPr>
            <p:nvPr/>
          </p:nvSpPr>
          <p:spPr bwMode="auto">
            <a:xfrm>
              <a:off x="366251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3" name="Freeform 13"/>
            <p:cNvSpPr>
              <a:spLocks noEditPoints="1"/>
            </p:cNvSpPr>
            <p:nvPr/>
          </p:nvSpPr>
          <p:spPr bwMode="auto">
            <a:xfrm>
              <a:off x="374881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4" name="Freeform 13"/>
            <p:cNvSpPr>
              <a:spLocks noEditPoints="1"/>
            </p:cNvSpPr>
            <p:nvPr/>
          </p:nvSpPr>
          <p:spPr bwMode="auto">
            <a:xfrm>
              <a:off x="383511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5" name="Freeform 13"/>
            <p:cNvSpPr>
              <a:spLocks noEditPoints="1"/>
            </p:cNvSpPr>
            <p:nvPr/>
          </p:nvSpPr>
          <p:spPr bwMode="auto">
            <a:xfrm>
              <a:off x="392141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6" name="Freeform 13"/>
            <p:cNvSpPr>
              <a:spLocks noEditPoints="1"/>
            </p:cNvSpPr>
            <p:nvPr/>
          </p:nvSpPr>
          <p:spPr bwMode="auto">
            <a:xfrm>
              <a:off x="400771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7" name="Freeform 13"/>
            <p:cNvSpPr>
              <a:spLocks noEditPoints="1"/>
            </p:cNvSpPr>
            <p:nvPr/>
          </p:nvSpPr>
          <p:spPr bwMode="auto">
            <a:xfrm>
              <a:off x="409401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8" name="Freeform 13"/>
            <p:cNvSpPr>
              <a:spLocks noEditPoints="1"/>
            </p:cNvSpPr>
            <p:nvPr/>
          </p:nvSpPr>
          <p:spPr bwMode="auto">
            <a:xfrm>
              <a:off x="418031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79" name="Freeform 13"/>
            <p:cNvSpPr>
              <a:spLocks noEditPoints="1"/>
            </p:cNvSpPr>
            <p:nvPr/>
          </p:nvSpPr>
          <p:spPr bwMode="auto">
            <a:xfrm>
              <a:off x="4266614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2" name="Freeform 13"/>
            <p:cNvSpPr>
              <a:spLocks noEditPoints="1"/>
            </p:cNvSpPr>
            <p:nvPr/>
          </p:nvSpPr>
          <p:spPr bwMode="auto">
            <a:xfrm>
              <a:off x="314472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BBD745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3" name="Freeform 13"/>
            <p:cNvSpPr>
              <a:spLocks noEditPoints="1"/>
            </p:cNvSpPr>
            <p:nvPr/>
          </p:nvSpPr>
          <p:spPr bwMode="auto">
            <a:xfrm>
              <a:off x="323101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4" name="Freeform 13"/>
            <p:cNvSpPr>
              <a:spLocks noEditPoints="1"/>
            </p:cNvSpPr>
            <p:nvPr/>
          </p:nvSpPr>
          <p:spPr bwMode="auto">
            <a:xfrm>
              <a:off x="331731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5" name="Freeform 13"/>
            <p:cNvSpPr>
              <a:spLocks noEditPoints="1"/>
            </p:cNvSpPr>
            <p:nvPr/>
          </p:nvSpPr>
          <p:spPr bwMode="auto">
            <a:xfrm>
              <a:off x="340361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6" name="Freeform 13"/>
            <p:cNvSpPr>
              <a:spLocks noEditPoints="1"/>
            </p:cNvSpPr>
            <p:nvPr/>
          </p:nvSpPr>
          <p:spPr bwMode="auto">
            <a:xfrm>
              <a:off x="3489919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7" name="Freeform 13"/>
            <p:cNvSpPr>
              <a:spLocks noEditPoints="1"/>
            </p:cNvSpPr>
            <p:nvPr/>
          </p:nvSpPr>
          <p:spPr bwMode="auto">
            <a:xfrm>
              <a:off x="357621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8" name="Freeform 13"/>
            <p:cNvSpPr>
              <a:spLocks noEditPoints="1"/>
            </p:cNvSpPr>
            <p:nvPr/>
          </p:nvSpPr>
          <p:spPr bwMode="auto">
            <a:xfrm>
              <a:off x="366251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59" name="Freeform 13"/>
            <p:cNvSpPr>
              <a:spLocks noEditPoints="1"/>
            </p:cNvSpPr>
            <p:nvPr/>
          </p:nvSpPr>
          <p:spPr bwMode="auto">
            <a:xfrm>
              <a:off x="3748817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0" name="Freeform 13"/>
            <p:cNvSpPr>
              <a:spLocks noEditPoints="1"/>
            </p:cNvSpPr>
            <p:nvPr/>
          </p:nvSpPr>
          <p:spPr bwMode="auto">
            <a:xfrm>
              <a:off x="3835117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1" name="Freeform 13"/>
            <p:cNvSpPr>
              <a:spLocks noEditPoints="1"/>
            </p:cNvSpPr>
            <p:nvPr/>
          </p:nvSpPr>
          <p:spPr bwMode="auto">
            <a:xfrm>
              <a:off x="3921417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2" name="Freeform 13"/>
            <p:cNvSpPr>
              <a:spLocks noEditPoints="1"/>
            </p:cNvSpPr>
            <p:nvPr/>
          </p:nvSpPr>
          <p:spPr bwMode="auto">
            <a:xfrm>
              <a:off x="4007717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3" name="Freeform 13"/>
            <p:cNvSpPr>
              <a:spLocks noEditPoints="1"/>
            </p:cNvSpPr>
            <p:nvPr/>
          </p:nvSpPr>
          <p:spPr bwMode="auto">
            <a:xfrm>
              <a:off x="4094016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4" name="Freeform 13"/>
            <p:cNvSpPr>
              <a:spLocks noEditPoints="1"/>
            </p:cNvSpPr>
            <p:nvPr/>
          </p:nvSpPr>
          <p:spPr bwMode="auto">
            <a:xfrm>
              <a:off x="4180316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065" name="Freeform 13"/>
            <p:cNvSpPr>
              <a:spLocks noEditPoints="1"/>
            </p:cNvSpPr>
            <p:nvPr/>
          </p:nvSpPr>
          <p:spPr bwMode="auto">
            <a:xfrm>
              <a:off x="4266614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78" name="Freeform 13"/>
            <p:cNvSpPr>
              <a:spLocks noEditPoints="1"/>
            </p:cNvSpPr>
            <p:nvPr/>
          </p:nvSpPr>
          <p:spPr bwMode="auto">
            <a:xfrm>
              <a:off x="4596414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79" name="Freeform 13"/>
            <p:cNvSpPr>
              <a:spLocks noEditPoints="1"/>
            </p:cNvSpPr>
            <p:nvPr/>
          </p:nvSpPr>
          <p:spPr bwMode="auto">
            <a:xfrm>
              <a:off x="4682713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0" name="Freeform 13"/>
            <p:cNvSpPr>
              <a:spLocks noEditPoints="1"/>
            </p:cNvSpPr>
            <p:nvPr/>
          </p:nvSpPr>
          <p:spPr bwMode="auto">
            <a:xfrm>
              <a:off x="4769013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1" name="Freeform 13"/>
            <p:cNvSpPr>
              <a:spLocks noEditPoints="1"/>
            </p:cNvSpPr>
            <p:nvPr/>
          </p:nvSpPr>
          <p:spPr bwMode="auto">
            <a:xfrm>
              <a:off x="4855312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2" name="Freeform 13"/>
            <p:cNvSpPr>
              <a:spLocks noEditPoints="1"/>
            </p:cNvSpPr>
            <p:nvPr/>
          </p:nvSpPr>
          <p:spPr bwMode="auto">
            <a:xfrm>
              <a:off x="4941613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3" name="Freeform 13"/>
            <p:cNvSpPr>
              <a:spLocks noEditPoints="1"/>
            </p:cNvSpPr>
            <p:nvPr/>
          </p:nvSpPr>
          <p:spPr bwMode="auto">
            <a:xfrm>
              <a:off x="5027912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4" name="Freeform 13"/>
            <p:cNvSpPr>
              <a:spLocks noEditPoints="1"/>
            </p:cNvSpPr>
            <p:nvPr/>
          </p:nvSpPr>
          <p:spPr bwMode="auto">
            <a:xfrm>
              <a:off x="5114212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5" name="Freeform 13"/>
            <p:cNvSpPr>
              <a:spLocks noEditPoints="1"/>
            </p:cNvSpPr>
            <p:nvPr/>
          </p:nvSpPr>
          <p:spPr bwMode="auto">
            <a:xfrm>
              <a:off x="5200511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6" name="Freeform 13"/>
            <p:cNvSpPr>
              <a:spLocks noEditPoints="1"/>
            </p:cNvSpPr>
            <p:nvPr/>
          </p:nvSpPr>
          <p:spPr bwMode="auto">
            <a:xfrm>
              <a:off x="5286811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7" name="Freeform 13"/>
            <p:cNvSpPr>
              <a:spLocks noEditPoints="1"/>
            </p:cNvSpPr>
            <p:nvPr/>
          </p:nvSpPr>
          <p:spPr bwMode="auto">
            <a:xfrm>
              <a:off x="5373111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8" name="Freeform 13"/>
            <p:cNvSpPr>
              <a:spLocks noEditPoints="1"/>
            </p:cNvSpPr>
            <p:nvPr/>
          </p:nvSpPr>
          <p:spPr bwMode="auto">
            <a:xfrm>
              <a:off x="5459411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89" name="Freeform 13"/>
            <p:cNvSpPr>
              <a:spLocks noEditPoints="1"/>
            </p:cNvSpPr>
            <p:nvPr/>
          </p:nvSpPr>
          <p:spPr bwMode="auto">
            <a:xfrm>
              <a:off x="5545710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90" name="Freeform 13"/>
            <p:cNvSpPr>
              <a:spLocks noEditPoints="1"/>
            </p:cNvSpPr>
            <p:nvPr/>
          </p:nvSpPr>
          <p:spPr bwMode="auto">
            <a:xfrm>
              <a:off x="5632010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91" name="Freeform 13"/>
            <p:cNvSpPr>
              <a:spLocks noEditPoints="1"/>
            </p:cNvSpPr>
            <p:nvPr/>
          </p:nvSpPr>
          <p:spPr bwMode="auto">
            <a:xfrm>
              <a:off x="5718308" y="1848387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363" name="Group 2362"/>
            <p:cNvGrpSpPr/>
            <p:nvPr/>
          </p:nvGrpSpPr>
          <p:grpSpPr>
            <a:xfrm>
              <a:off x="4596414" y="1999395"/>
              <a:ext cx="1186564" cy="137068"/>
              <a:chOff x="178955" y="1936918"/>
              <a:chExt cx="1186564" cy="177061"/>
            </a:xfrm>
            <a:solidFill>
              <a:srgbClr val="FF6600"/>
            </a:solidFill>
          </p:grpSpPr>
          <p:sp>
            <p:nvSpPr>
              <p:cNvPr id="266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6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6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6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6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6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7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650" name="Freeform 13"/>
            <p:cNvSpPr>
              <a:spLocks noEditPoints="1"/>
            </p:cNvSpPr>
            <p:nvPr/>
          </p:nvSpPr>
          <p:spPr bwMode="auto">
            <a:xfrm>
              <a:off x="4596414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1" name="Freeform 13"/>
            <p:cNvSpPr>
              <a:spLocks noEditPoints="1"/>
            </p:cNvSpPr>
            <p:nvPr/>
          </p:nvSpPr>
          <p:spPr bwMode="auto">
            <a:xfrm>
              <a:off x="4682713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2" name="Freeform 13"/>
            <p:cNvSpPr>
              <a:spLocks noEditPoints="1"/>
            </p:cNvSpPr>
            <p:nvPr/>
          </p:nvSpPr>
          <p:spPr bwMode="auto">
            <a:xfrm>
              <a:off x="4769013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3" name="Freeform 13"/>
            <p:cNvSpPr>
              <a:spLocks noEditPoints="1"/>
            </p:cNvSpPr>
            <p:nvPr/>
          </p:nvSpPr>
          <p:spPr bwMode="auto">
            <a:xfrm>
              <a:off x="4855312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4" name="Freeform 13"/>
            <p:cNvSpPr>
              <a:spLocks noEditPoints="1"/>
            </p:cNvSpPr>
            <p:nvPr/>
          </p:nvSpPr>
          <p:spPr bwMode="auto">
            <a:xfrm>
              <a:off x="4941613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5" name="Freeform 13"/>
            <p:cNvSpPr>
              <a:spLocks noEditPoints="1"/>
            </p:cNvSpPr>
            <p:nvPr/>
          </p:nvSpPr>
          <p:spPr bwMode="auto">
            <a:xfrm>
              <a:off x="5027912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6" name="Freeform 13"/>
            <p:cNvSpPr>
              <a:spLocks noEditPoints="1"/>
            </p:cNvSpPr>
            <p:nvPr/>
          </p:nvSpPr>
          <p:spPr bwMode="auto">
            <a:xfrm>
              <a:off x="5114212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7" name="Freeform 13"/>
            <p:cNvSpPr>
              <a:spLocks noEditPoints="1"/>
            </p:cNvSpPr>
            <p:nvPr/>
          </p:nvSpPr>
          <p:spPr bwMode="auto">
            <a:xfrm>
              <a:off x="5200511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8" name="Freeform 13"/>
            <p:cNvSpPr>
              <a:spLocks noEditPoints="1"/>
            </p:cNvSpPr>
            <p:nvPr/>
          </p:nvSpPr>
          <p:spPr bwMode="auto">
            <a:xfrm>
              <a:off x="5286811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7030A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59" name="Freeform 13"/>
            <p:cNvSpPr>
              <a:spLocks noEditPoints="1"/>
            </p:cNvSpPr>
            <p:nvPr/>
          </p:nvSpPr>
          <p:spPr bwMode="auto">
            <a:xfrm>
              <a:off x="5373111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60" name="Freeform 13"/>
            <p:cNvSpPr>
              <a:spLocks noEditPoints="1"/>
            </p:cNvSpPr>
            <p:nvPr/>
          </p:nvSpPr>
          <p:spPr bwMode="auto">
            <a:xfrm>
              <a:off x="5459411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61" name="Freeform 13"/>
            <p:cNvSpPr>
              <a:spLocks noEditPoints="1"/>
            </p:cNvSpPr>
            <p:nvPr/>
          </p:nvSpPr>
          <p:spPr bwMode="auto">
            <a:xfrm>
              <a:off x="5545710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62" name="Freeform 13"/>
            <p:cNvSpPr>
              <a:spLocks noEditPoints="1"/>
            </p:cNvSpPr>
            <p:nvPr/>
          </p:nvSpPr>
          <p:spPr bwMode="auto">
            <a:xfrm>
              <a:off x="5632010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63" name="Freeform 13"/>
            <p:cNvSpPr>
              <a:spLocks noEditPoints="1"/>
            </p:cNvSpPr>
            <p:nvPr/>
          </p:nvSpPr>
          <p:spPr bwMode="auto">
            <a:xfrm>
              <a:off x="5718308" y="21504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36" name="Freeform 13"/>
            <p:cNvSpPr>
              <a:spLocks noEditPoints="1"/>
            </p:cNvSpPr>
            <p:nvPr/>
          </p:nvSpPr>
          <p:spPr bwMode="auto">
            <a:xfrm>
              <a:off x="4596414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37" name="Freeform 13"/>
            <p:cNvSpPr>
              <a:spLocks noEditPoints="1"/>
            </p:cNvSpPr>
            <p:nvPr/>
          </p:nvSpPr>
          <p:spPr bwMode="auto">
            <a:xfrm>
              <a:off x="4682713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38" name="Freeform 13"/>
            <p:cNvSpPr>
              <a:spLocks noEditPoints="1"/>
            </p:cNvSpPr>
            <p:nvPr/>
          </p:nvSpPr>
          <p:spPr bwMode="auto">
            <a:xfrm>
              <a:off x="4769013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39" name="Freeform 13"/>
            <p:cNvSpPr>
              <a:spLocks noEditPoints="1"/>
            </p:cNvSpPr>
            <p:nvPr/>
          </p:nvSpPr>
          <p:spPr bwMode="auto">
            <a:xfrm>
              <a:off x="4855312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0" name="Freeform 13"/>
            <p:cNvSpPr>
              <a:spLocks noEditPoints="1"/>
            </p:cNvSpPr>
            <p:nvPr/>
          </p:nvSpPr>
          <p:spPr bwMode="auto">
            <a:xfrm>
              <a:off x="4941613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1" name="Freeform 13"/>
            <p:cNvSpPr>
              <a:spLocks noEditPoints="1"/>
            </p:cNvSpPr>
            <p:nvPr/>
          </p:nvSpPr>
          <p:spPr bwMode="auto">
            <a:xfrm>
              <a:off x="5027912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2" name="Freeform 13"/>
            <p:cNvSpPr>
              <a:spLocks noEditPoints="1"/>
            </p:cNvSpPr>
            <p:nvPr/>
          </p:nvSpPr>
          <p:spPr bwMode="auto">
            <a:xfrm>
              <a:off x="5114212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3" name="Freeform 13"/>
            <p:cNvSpPr>
              <a:spLocks noEditPoints="1"/>
            </p:cNvSpPr>
            <p:nvPr/>
          </p:nvSpPr>
          <p:spPr bwMode="auto">
            <a:xfrm>
              <a:off x="5200511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4" name="Freeform 13"/>
            <p:cNvSpPr>
              <a:spLocks noEditPoints="1"/>
            </p:cNvSpPr>
            <p:nvPr/>
          </p:nvSpPr>
          <p:spPr bwMode="auto">
            <a:xfrm>
              <a:off x="5286811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5" name="Freeform 13"/>
            <p:cNvSpPr>
              <a:spLocks noEditPoints="1"/>
            </p:cNvSpPr>
            <p:nvPr/>
          </p:nvSpPr>
          <p:spPr bwMode="auto">
            <a:xfrm>
              <a:off x="5373111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6" name="Freeform 13"/>
            <p:cNvSpPr>
              <a:spLocks noEditPoints="1"/>
            </p:cNvSpPr>
            <p:nvPr/>
          </p:nvSpPr>
          <p:spPr bwMode="auto">
            <a:xfrm>
              <a:off x="5459411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00B0F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7" name="Freeform 13"/>
            <p:cNvSpPr>
              <a:spLocks noEditPoints="1"/>
            </p:cNvSpPr>
            <p:nvPr/>
          </p:nvSpPr>
          <p:spPr bwMode="auto">
            <a:xfrm>
              <a:off x="5545710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8" name="Freeform 13"/>
            <p:cNvSpPr>
              <a:spLocks noEditPoints="1"/>
            </p:cNvSpPr>
            <p:nvPr/>
          </p:nvSpPr>
          <p:spPr bwMode="auto">
            <a:xfrm>
              <a:off x="5632010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49" name="Freeform 13"/>
            <p:cNvSpPr>
              <a:spLocks noEditPoints="1"/>
            </p:cNvSpPr>
            <p:nvPr/>
          </p:nvSpPr>
          <p:spPr bwMode="auto">
            <a:xfrm>
              <a:off x="5718308" y="23014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366" name="Group 2365"/>
            <p:cNvGrpSpPr/>
            <p:nvPr/>
          </p:nvGrpSpPr>
          <p:grpSpPr>
            <a:xfrm>
              <a:off x="4596414" y="2452418"/>
              <a:ext cx="1186564" cy="137068"/>
              <a:chOff x="178955" y="1936918"/>
              <a:chExt cx="1186564" cy="177061"/>
            </a:xfrm>
            <a:solidFill>
              <a:srgbClr val="00B0F0"/>
            </a:solidFill>
          </p:grpSpPr>
          <p:sp>
            <p:nvSpPr>
              <p:cNvPr id="262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2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3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608" name="Freeform 13"/>
            <p:cNvSpPr>
              <a:spLocks noEditPoints="1"/>
            </p:cNvSpPr>
            <p:nvPr/>
          </p:nvSpPr>
          <p:spPr bwMode="auto">
            <a:xfrm>
              <a:off x="4596414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09" name="Freeform 13"/>
            <p:cNvSpPr>
              <a:spLocks noEditPoints="1"/>
            </p:cNvSpPr>
            <p:nvPr/>
          </p:nvSpPr>
          <p:spPr bwMode="auto">
            <a:xfrm>
              <a:off x="4682713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0" name="Freeform 13"/>
            <p:cNvSpPr>
              <a:spLocks noEditPoints="1"/>
            </p:cNvSpPr>
            <p:nvPr/>
          </p:nvSpPr>
          <p:spPr bwMode="auto">
            <a:xfrm>
              <a:off x="4769013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1" name="Freeform 13"/>
            <p:cNvSpPr>
              <a:spLocks noEditPoints="1"/>
            </p:cNvSpPr>
            <p:nvPr/>
          </p:nvSpPr>
          <p:spPr bwMode="auto">
            <a:xfrm>
              <a:off x="4855312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2" name="Freeform 13"/>
            <p:cNvSpPr>
              <a:spLocks noEditPoints="1"/>
            </p:cNvSpPr>
            <p:nvPr/>
          </p:nvSpPr>
          <p:spPr bwMode="auto">
            <a:xfrm>
              <a:off x="4941613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3" name="Freeform 13"/>
            <p:cNvSpPr>
              <a:spLocks noEditPoints="1"/>
            </p:cNvSpPr>
            <p:nvPr/>
          </p:nvSpPr>
          <p:spPr bwMode="auto">
            <a:xfrm>
              <a:off x="5027912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4" name="Freeform 13"/>
            <p:cNvSpPr>
              <a:spLocks noEditPoints="1"/>
            </p:cNvSpPr>
            <p:nvPr/>
          </p:nvSpPr>
          <p:spPr bwMode="auto">
            <a:xfrm>
              <a:off x="5114212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5" name="Freeform 13"/>
            <p:cNvSpPr>
              <a:spLocks noEditPoints="1"/>
            </p:cNvSpPr>
            <p:nvPr/>
          </p:nvSpPr>
          <p:spPr bwMode="auto">
            <a:xfrm>
              <a:off x="5200511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6" name="Freeform 13"/>
            <p:cNvSpPr>
              <a:spLocks noEditPoints="1"/>
            </p:cNvSpPr>
            <p:nvPr/>
          </p:nvSpPr>
          <p:spPr bwMode="auto">
            <a:xfrm>
              <a:off x="5286811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7" name="Freeform 13"/>
            <p:cNvSpPr>
              <a:spLocks noEditPoints="1"/>
            </p:cNvSpPr>
            <p:nvPr/>
          </p:nvSpPr>
          <p:spPr bwMode="auto">
            <a:xfrm>
              <a:off x="5373111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8" name="Freeform 13"/>
            <p:cNvSpPr>
              <a:spLocks noEditPoints="1"/>
            </p:cNvSpPr>
            <p:nvPr/>
          </p:nvSpPr>
          <p:spPr bwMode="auto">
            <a:xfrm>
              <a:off x="5459411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19" name="Freeform 13"/>
            <p:cNvSpPr>
              <a:spLocks noEditPoints="1"/>
            </p:cNvSpPr>
            <p:nvPr/>
          </p:nvSpPr>
          <p:spPr bwMode="auto">
            <a:xfrm>
              <a:off x="5545710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20" name="Freeform 13"/>
            <p:cNvSpPr>
              <a:spLocks noEditPoints="1"/>
            </p:cNvSpPr>
            <p:nvPr/>
          </p:nvSpPr>
          <p:spPr bwMode="auto">
            <a:xfrm>
              <a:off x="5632010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621" name="Freeform 13"/>
            <p:cNvSpPr>
              <a:spLocks noEditPoints="1"/>
            </p:cNvSpPr>
            <p:nvPr/>
          </p:nvSpPr>
          <p:spPr bwMode="auto">
            <a:xfrm>
              <a:off x="5718308" y="2603425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368" name="Group 2367"/>
            <p:cNvGrpSpPr/>
            <p:nvPr/>
          </p:nvGrpSpPr>
          <p:grpSpPr>
            <a:xfrm>
              <a:off x="4596414" y="2754433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9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60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69" name="Group 2368"/>
            <p:cNvGrpSpPr/>
            <p:nvPr/>
          </p:nvGrpSpPr>
          <p:grpSpPr>
            <a:xfrm>
              <a:off x="4596414" y="2905441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8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8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9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0" name="Group 2369"/>
            <p:cNvGrpSpPr/>
            <p:nvPr/>
          </p:nvGrpSpPr>
          <p:grpSpPr>
            <a:xfrm>
              <a:off x="4596414" y="3056448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6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7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1" name="Group 2370"/>
            <p:cNvGrpSpPr/>
            <p:nvPr/>
          </p:nvGrpSpPr>
          <p:grpSpPr>
            <a:xfrm>
              <a:off x="4596414" y="3207456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5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6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2" name="Group 2371"/>
            <p:cNvGrpSpPr/>
            <p:nvPr/>
          </p:nvGrpSpPr>
          <p:grpSpPr>
            <a:xfrm>
              <a:off x="4596414" y="3358464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3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4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5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3" name="Group 2372"/>
            <p:cNvGrpSpPr/>
            <p:nvPr/>
          </p:nvGrpSpPr>
          <p:grpSpPr>
            <a:xfrm>
              <a:off x="4596414" y="3509471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2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3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4" name="Group 2373"/>
            <p:cNvGrpSpPr/>
            <p:nvPr/>
          </p:nvGrpSpPr>
          <p:grpSpPr>
            <a:xfrm>
              <a:off x="4596414" y="3660479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51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1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2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5" name="Group 2374"/>
            <p:cNvGrpSpPr/>
            <p:nvPr/>
          </p:nvGrpSpPr>
          <p:grpSpPr>
            <a:xfrm>
              <a:off x="4596414" y="3811487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9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50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6" name="Group 2375"/>
            <p:cNvGrpSpPr/>
            <p:nvPr/>
          </p:nvGrpSpPr>
          <p:grpSpPr>
            <a:xfrm>
              <a:off x="4596414" y="3962494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8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9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7" name="Group 2376"/>
            <p:cNvGrpSpPr/>
            <p:nvPr/>
          </p:nvGrpSpPr>
          <p:grpSpPr>
            <a:xfrm>
              <a:off x="4596414" y="4113502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6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7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8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8" name="Group 2377"/>
            <p:cNvGrpSpPr/>
            <p:nvPr/>
          </p:nvGrpSpPr>
          <p:grpSpPr>
            <a:xfrm>
              <a:off x="4596414" y="4264510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5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6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79" name="Group 2378"/>
            <p:cNvGrpSpPr/>
            <p:nvPr/>
          </p:nvGrpSpPr>
          <p:grpSpPr>
            <a:xfrm>
              <a:off x="4596414" y="4415517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4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4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5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80" name="Group 2379"/>
            <p:cNvGrpSpPr/>
            <p:nvPr/>
          </p:nvGrpSpPr>
          <p:grpSpPr>
            <a:xfrm>
              <a:off x="4596414" y="4566525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2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3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81" name="Group 2380"/>
            <p:cNvGrpSpPr/>
            <p:nvPr/>
          </p:nvGrpSpPr>
          <p:grpSpPr>
            <a:xfrm>
              <a:off x="4596414" y="4717533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41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2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82" name="Group 2381"/>
            <p:cNvGrpSpPr/>
            <p:nvPr/>
          </p:nvGrpSpPr>
          <p:grpSpPr>
            <a:xfrm>
              <a:off x="4596414" y="4868540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39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0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41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383" name="Group 2382"/>
            <p:cNvGrpSpPr/>
            <p:nvPr/>
          </p:nvGrpSpPr>
          <p:grpSpPr>
            <a:xfrm>
              <a:off x="4596414" y="5019548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38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8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8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8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8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8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39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3" name="Group 2692"/>
            <p:cNvGrpSpPr/>
            <p:nvPr/>
          </p:nvGrpSpPr>
          <p:grpSpPr>
            <a:xfrm>
              <a:off x="6016603" y="1848387"/>
              <a:ext cx="1186564" cy="137068"/>
              <a:chOff x="178955" y="1936918"/>
              <a:chExt cx="1186564" cy="177061"/>
            </a:xfrm>
          </p:grpSpPr>
          <p:sp>
            <p:nvSpPr>
              <p:cNvPr id="301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1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2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2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2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2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4" name="Group 2693"/>
            <p:cNvGrpSpPr/>
            <p:nvPr/>
          </p:nvGrpSpPr>
          <p:grpSpPr>
            <a:xfrm>
              <a:off x="6016603" y="1999395"/>
              <a:ext cx="1186564" cy="137068"/>
              <a:chOff x="178955" y="1936918"/>
              <a:chExt cx="1186564" cy="177061"/>
            </a:xfrm>
          </p:grpSpPr>
          <p:sp>
            <p:nvSpPr>
              <p:cNvPr id="299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0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5" name="Group 2694"/>
            <p:cNvGrpSpPr/>
            <p:nvPr/>
          </p:nvGrpSpPr>
          <p:grpSpPr>
            <a:xfrm>
              <a:off x="6016603" y="2150402"/>
              <a:ext cx="1186564" cy="137068"/>
              <a:chOff x="178955" y="1936918"/>
              <a:chExt cx="1186564" cy="177061"/>
            </a:xfrm>
          </p:grpSpPr>
          <p:sp>
            <p:nvSpPr>
              <p:cNvPr id="298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9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6" name="Group 2695"/>
            <p:cNvGrpSpPr/>
            <p:nvPr/>
          </p:nvGrpSpPr>
          <p:grpSpPr>
            <a:xfrm>
              <a:off x="6016603" y="2301410"/>
              <a:ext cx="1186564" cy="137068"/>
              <a:chOff x="178955" y="1936918"/>
              <a:chExt cx="1186564" cy="177061"/>
            </a:xfrm>
          </p:grpSpPr>
          <p:sp>
            <p:nvSpPr>
              <p:cNvPr id="296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7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8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7" name="Group 2696"/>
            <p:cNvGrpSpPr/>
            <p:nvPr/>
          </p:nvGrpSpPr>
          <p:grpSpPr>
            <a:xfrm>
              <a:off x="6016603" y="2452418"/>
              <a:ext cx="1186564" cy="137068"/>
              <a:chOff x="178955" y="1936918"/>
              <a:chExt cx="1186564" cy="177061"/>
            </a:xfrm>
          </p:grpSpPr>
          <p:sp>
            <p:nvSpPr>
              <p:cNvPr id="295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6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8" name="Group 2697"/>
            <p:cNvGrpSpPr/>
            <p:nvPr/>
          </p:nvGrpSpPr>
          <p:grpSpPr>
            <a:xfrm>
              <a:off x="6016603" y="2603425"/>
              <a:ext cx="1186564" cy="137068"/>
              <a:chOff x="178955" y="1936918"/>
              <a:chExt cx="1186564" cy="177061"/>
            </a:xfrm>
          </p:grpSpPr>
          <p:sp>
            <p:nvSpPr>
              <p:cNvPr id="294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4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5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699" name="Group 2698"/>
            <p:cNvGrpSpPr/>
            <p:nvPr/>
          </p:nvGrpSpPr>
          <p:grpSpPr>
            <a:xfrm>
              <a:off x="6016603" y="2754433"/>
              <a:ext cx="1186564" cy="137068"/>
              <a:chOff x="178955" y="1936918"/>
              <a:chExt cx="1186564" cy="177061"/>
            </a:xfrm>
          </p:grpSpPr>
          <p:sp>
            <p:nvSpPr>
              <p:cNvPr id="292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3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0" name="Group 2699"/>
            <p:cNvGrpSpPr/>
            <p:nvPr/>
          </p:nvGrpSpPr>
          <p:grpSpPr>
            <a:xfrm>
              <a:off x="6016603" y="2905441"/>
              <a:ext cx="1186564" cy="137068"/>
              <a:chOff x="178955" y="1936918"/>
              <a:chExt cx="1186564" cy="177061"/>
            </a:xfrm>
          </p:grpSpPr>
          <p:sp>
            <p:nvSpPr>
              <p:cNvPr id="291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2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1" name="Group 2700"/>
            <p:cNvGrpSpPr/>
            <p:nvPr/>
          </p:nvGrpSpPr>
          <p:grpSpPr>
            <a:xfrm>
              <a:off x="6016603" y="3056448"/>
              <a:ext cx="1186564" cy="137068"/>
              <a:chOff x="178955" y="1936918"/>
              <a:chExt cx="1186564" cy="177061"/>
            </a:xfrm>
          </p:grpSpPr>
          <p:sp>
            <p:nvSpPr>
              <p:cNvPr id="289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0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91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2" name="Group 2701"/>
            <p:cNvGrpSpPr/>
            <p:nvPr/>
          </p:nvGrpSpPr>
          <p:grpSpPr>
            <a:xfrm>
              <a:off x="6016603" y="3207456"/>
              <a:ext cx="1186564" cy="137068"/>
              <a:chOff x="178955" y="1936918"/>
              <a:chExt cx="1186564" cy="177061"/>
            </a:xfrm>
          </p:grpSpPr>
          <p:sp>
            <p:nvSpPr>
              <p:cNvPr id="288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9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3" name="Group 2702"/>
            <p:cNvGrpSpPr/>
            <p:nvPr/>
          </p:nvGrpSpPr>
          <p:grpSpPr>
            <a:xfrm>
              <a:off x="6016603" y="3358464"/>
              <a:ext cx="1186564" cy="137068"/>
              <a:chOff x="178955" y="1936918"/>
              <a:chExt cx="1186564" cy="177061"/>
            </a:xfrm>
          </p:grpSpPr>
          <p:sp>
            <p:nvSpPr>
              <p:cNvPr id="286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7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8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4" name="Group 2703"/>
            <p:cNvGrpSpPr/>
            <p:nvPr/>
          </p:nvGrpSpPr>
          <p:grpSpPr>
            <a:xfrm>
              <a:off x="6016603" y="3509471"/>
              <a:ext cx="1186564" cy="137068"/>
              <a:chOff x="178955" y="1936918"/>
              <a:chExt cx="1186564" cy="177061"/>
            </a:xfrm>
          </p:grpSpPr>
          <p:sp>
            <p:nvSpPr>
              <p:cNvPr id="285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6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5" name="Group 2704"/>
            <p:cNvGrpSpPr/>
            <p:nvPr/>
          </p:nvGrpSpPr>
          <p:grpSpPr>
            <a:xfrm>
              <a:off x="6016603" y="3660479"/>
              <a:ext cx="1186564" cy="137068"/>
              <a:chOff x="178955" y="1936918"/>
              <a:chExt cx="1186564" cy="177061"/>
            </a:xfrm>
          </p:grpSpPr>
          <p:sp>
            <p:nvSpPr>
              <p:cNvPr id="284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5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6" name="Group 2705"/>
            <p:cNvGrpSpPr/>
            <p:nvPr/>
          </p:nvGrpSpPr>
          <p:grpSpPr>
            <a:xfrm>
              <a:off x="6016603" y="3811487"/>
              <a:ext cx="1186564" cy="137068"/>
              <a:chOff x="178955" y="1936918"/>
              <a:chExt cx="1186564" cy="177061"/>
            </a:xfrm>
          </p:grpSpPr>
          <p:sp>
            <p:nvSpPr>
              <p:cNvPr id="282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3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4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07" name="Group 2706"/>
            <p:cNvGrpSpPr/>
            <p:nvPr/>
          </p:nvGrpSpPr>
          <p:grpSpPr>
            <a:xfrm>
              <a:off x="6016603" y="3962494"/>
              <a:ext cx="1186564" cy="137068"/>
              <a:chOff x="178955" y="1936918"/>
              <a:chExt cx="1186564" cy="177061"/>
            </a:xfrm>
          </p:grpSpPr>
          <p:sp>
            <p:nvSpPr>
              <p:cNvPr id="281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1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82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2799" name="Freeform 13"/>
            <p:cNvSpPr>
              <a:spLocks noEditPoints="1"/>
            </p:cNvSpPr>
            <p:nvPr/>
          </p:nvSpPr>
          <p:spPr bwMode="auto">
            <a:xfrm>
              <a:off x="6016603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0" name="Freeform 13"/>
            <p:cNvSpPr>
              <a:spLocks noEditPoints="1"/>
            </p:cNvSpPr>
            <p:nvPr/>
          </p:nvSpPr>
          <p:spPr bwMode="auto">
            <a:xfrm>
              <a:off x="6102902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1" name="Freeform 13"/>
            <p:cNvSpPr>
              <a:spLocks noEditPoints="1"/>
            </p:cNvSpPr>
            <p:nvPr/>
          </p:nvSpPr>
          <p:spPr bwMode="auto">
            <a:xfrm>
              <a:off x="6189202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2" name="Freeform 13"/>
            <p:cNvSpPr>
              <a:spLocks noEditPoints="1"/>
            </p:cNvSpPr>
            <p:nvPr/>
          </p:nvSpPr>
          <p:spPr bwMode="auto">
            <a:xfrm>
              <a:off x="6275501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3" name="Freeform 13"/>
            <p:cNvSpPr>
              <a:spLocks noEditPoints="1"/>
            </p:cNvSpPr>
            <p:nvPr/>
          </p:nvSpPr>
          <p:spPr bwMode="auto">
            <a:xfrm>
              <a:off x="6361802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4" name="Freeform 13"/>
            <p:cNvSpPr>
              <a:spLocks noEditPoints="1"/>
            </p:cNvSpPr>
            <p:nvPr/>
          </p:nvSpPr>
          <p:spPr bwMode="auto">
            <a:xfrm>
              <a:off x="6448101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5" name="Freeform 13"/>
            <p:cNvSpPr>
              <a:spLocks noEditPoints="1"/>
            </p:cNvSpPr>
            <p:nvPr/>
          </p:nvSpPr>
          <p:spPr bwMode="auto">
            <a:xfrm>
              <a:off x="6534401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6" name="Freeform 13"/>
            <p:cNvSpPr>
              <a:spLocks noEditPoints="1"/>
            </p:cNvSpPr>
            <p:nvPr/>
          </p:nvSpPr>
          <p:spPr bwMode="auto">
            <a:xfrm>
              <a:off x="6620700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7" name="Freeform 13"/>
            <p:cNvSpPr>
              <a:spLocks noEditPoints="1"/>
            </p:cNvSpPr>
            <p:nvPr/>
          </p:nvSpPr>
          <p:spPr bwMode="auto">
            <a:xfrm>
              <a:off x="6707000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8" name="Freeform 13"/>
            <p:cNvSpPr>
              <a:spLocks noEditPoints="1"/>
            </p:cNvSpPr>
            <p:nvPr/>
          </p:nvSpPr>
          <p:spPr bwMode="auto">
            <a:xfrm>
              <a:off x="6793300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09" name="Freeform 13"/>
            <p:cNvSpPr>
              <a:spLocks noEditPoints="1"/>
            </p:cNvSpPr>
            <p:nvPr/>
          </p:nvSpPr>
          <p:spPr bwMode="auto">
            <a:xfrm>
              <a:off x="6879600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10" name="Freeform 13"/>
            <p:cNvSpPr>
              <a:spLocks noEditPoints="1"/>
            </p:cNvSpPr>
            <p:nvPr/>
          </p:nvSpPr>
          <p:spPr bwMode="auto">
            <a:xfrm>
              <a:off x="6965899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11" name="Freeform 13"/>
            <p:cNvSpPr>
              <a:spLocks noEditPoints="1"/>
            </p:cNvSpPr>
            <p:nvPr/>
          </p:nvSpPr>
          <p:spPr bwMode="auto">
            <a:xfrm>
              <a:off x="7052199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812" name="Freeform 13"/>
            <p:cNvSpPr>
              <a:spLocks noEditPoints="1"/>
            </p:cNvSpPr>
            <p:nvPr/>
          </p:nvSpPr>
          <p:spPr bwMode="auto">
            <a:xfrm>
              <a:off x="7138497" y="4113502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85" name="Freeform 13"/>
            <p:cNvSpPr>
              <a:spLocks noEditPoints="1"/>
            </p:cNvSpPr>
            <p:nvPr/>
          </p:nvSpPr>
          <p:spPr bwMode="auto">
            <a:xfrm>
              <a:off x="6016603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86" name="Freeform 13"/>
            <p:cNvSpPr>
              <a:spLocks noEditPoints="1"/>
            </p:cNvSpPr>
            <p:nvPr/>
          </p:nvSpPr>
          <p:spPr bwMode="auto">
            <a:xfrm>
              <a:off x="6102902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87" name="Freeform 13"/>
            <p:cNvSpPr>
              <a:spLocks noEditPoints="1"/>
            </p:cNvSpPr>
            <p:nvPr/>
          </p:nvSpPr>
          <p:spPr bwMode="auto">
            <a:xfrm>
              <a:off x="6189202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88" name="Freeform 13"/>
            <p:cNvSpPr>
              <a:spLocks noEditPoints="1"/>
            </p:cNvSpPr>
            <p:nvPr/>
          </p:nvSpPr>
          <p:spPr bwMode="auto">
            <a:xfrm>
              <a:off x="627550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89" name="Freeform 13"/>
            <p:cNvSpPr>
              <a:spLocks noEditPoints="1"/>
            </p:cNvSpPr>
            <p:nvPr/>
          </p:nvSpPr>
          <p:spPr bwMode="auto">
            <a:xfrm>
              <a:off x="6361802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0" name="Freeform 13"/>
            <p:cNvSpPr>
              <a:spLocks noEditPoints="1"/>
            </p:cNvSpPr>
            <p:nvPr/>
          </p:nvSpPr>
          <p:spPr bwMode="auto">
            <a:xfrm>
              <a:off x="644810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1" name="Freeform 13"/>
            <p:cNvSpPr>
              <a:spLocks noEditPoints="1"/>
            </p:cNvSpPr>
            <p:nvPr/>
          </p:nvSpPr>
          <p:spPr bwMode="auto">
            <a:xfrm>
              <a:off x="6534401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2" name="Freeform 13"/>
            <p:cNvSpPr>
              <a:spLocks noEditPoints="1"/>
            </p:cNvSpPr>
            <p:nvPr/>
          </p:nvSpPr>
          <p:spPr bwMode="auto">
            <a:xfrm>
              <a:off x="662070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3" name="Freeform 13"/>
            <p:cNvSpPr>
              <a:spLocks noEditPoints="1"/>
            </p:cNvSpPr>
            <p:nvPr/>
          </p:nvSpPr>
          <p:spPr bwMode="auto">
            <a:xfrm>
              <a:off x="670700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4" name="Freeform 13"/>
            <p:cNvSpPr>
              <a:spLocks noEditPoints="1"/>
            </p:cNvSpPr>
            <p:nvPr/>
          </p:nvSpPr>
          <p:spPr bwMode="auto">
            <a:xfrm>
              <a:off x="679330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5" name="Freeform 13"/>
            <p:cNvSpPr>
              <a:spLocks noEditPoints="1"/>
            </p:cNvSpPr>
            <p:nvPr/>
          </p:nvSpPr>
          <p:spPr bwMode="auto">
            <a:xfrm>
              <a:off x="6879600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6" name="Freeform 13"/>
            <p:cNvSpPr>
              <a:spLocks noEditPoints="1"/>
            </p:cNvSpPr>
            <p:nvPr/>
          </p:nvSpPr>
          <p:spPr bwMode="auto">
            <a:xfrm>
              <a:off x="696589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BBD74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7" name="Freeform 13"/>
            <p:cNvSpPr>
              <a:spLocks noEditPoints="1"/>
            </p:cNvSpPr>
            <p:nvPr/>
          </p:nvSpPr>
          <p:spPr bwMode="auto">
            <a:xfrm>
              <a:off x="7052199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>
              <a:gsLst>
                <a:gs pos="49000">
                  <a:srgbClr val="00B05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2798" name="Freeform 13"/>
            <p:cNvSpPr>
              <a:spLocks noEditPoints="1"/>
            </p:cNvSpPr>
            <p:nvPr/>
          </p:nvSpPr>
          <p:spPr bwMode="auto">
            <a:xfrm>
              <a:off x="7138497" y="426451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2710" name="Group 2709"/>
            <p:cNvGrpSpPr/>
            <p:nvPr/>
          </p:nvGrpSpPr>
          <p:grpSpPr>
            <a:xfrm>
              <a:off x="6016603" y="4415517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77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8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8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8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8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8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11" name="Group 2710"/>
            <p:cNvGrpSpPr/>
            <p:nvPr/>
          </p:nvGrpSpPr>
          <p:grpSpPr>
            <a:xfrm>
              <a:off x="6016603" y="4566525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75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6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7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12" name="Group 2711"/>
            <p:cNvGrpSpPr/>
            <p:nvPr/>
          </p:nvGrpSpPr>
          <p:grpSpPr>
            <a:xfrm>
              <a:off x="6016603" y="4717533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74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5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13" name="Group 2712"/>
            <p:cNvGrpSpPr/>
            <p:nvPr/>
          </p:nvGrpSpPr>
          <p:grpSpPr>
            <a:xfrm>
              <a:off x="6016603" y="4868540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72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3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4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2714" name="Group 2713"/>
            <p:cNvGrpSpPr/>
            <p:nvPr/>
          </p:nvGrpSpPr>
          <p:grpSpPr>
            <a:xfrm>
              <a:off x="6016603" y="5019548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271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1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1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1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1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272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25" name="Group 3024"/>
            <p:cNvGrpSpPr/>
            <p:nvPr/>
          </p:nvGrpSpPr>
          <p:grpSpPr>
            <a:xfrm>
              <a:off x="7460049" y="1848387"/>
              <a:ext cx="1186564" cy="137068"/>
              <a:chOff x="178955" y="1936918"/>
              <a:chExt cx="1186564" cy="177061"/>
            </a:xfrm>
          </p:grpSpPr>
          <p:sp>
            <p:nvSpPr>
              <p:cNvPr id="334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5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5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5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5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5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26" name="Group 3025"/>
            <p:cNvGrpSpPr/>
            <p:nvPr/>
          </p:nvGrpSpPr>
          <p:grpSpPr>
            <a:xfrm>
              <a:off x="7460049" y="1999395"/>
              <a:ext cx="1186564" cy="137068"/>
              <a:chOff x="178955" y="1936918"/>
              <a:chExt cx="1186564" cy="177061"/>
            </a:xfrm>
          </p:grpSpPr>
          <p:sp>
            <p:nvSpPr>
              <p:cNvPr id="332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3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4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27" name="Group 3026"/>
            <p:cNvGrpSpPr/>
            <p:nvPr/>
          </p:nvGrpSpPr>
          <p:grpSpPr>
            <a:xfrm>
              <a:off x="7460049" y="2150402"/>
              <a:ext cx="1186564" cy="137068"/>
              <a:chOff x="178955" y="1936918"/>
              <a:chExt cx="1186564" cy="177061"/>
            </a:xfrm>
          </p:grpSpPr>
          <p:sp>
            <p:nvSpPr>
              <p:cNvPr id="331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2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28" name="Group 3027"/>
            <p:cNvGrpSpPr/>
            <p:nvPr/>
          </p:nvGrpSpPr>
          <p:grpSpPr>
            <a:xfrm>
              <a:off x="7460049" y="2301410"/>
              <a:ext cx="1186564" cy="137068"/>
              <a:chOff x="178955" y="1936918"/>
              <a:chExt cx="1186564" cy="177061"/>
            </a:xfrm>
          </p:grpSpPr>
          <p:sp>
            <p:nvSpPr>
              <p:cNvPr id="329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0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1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29" name="Group 3028"/>
            <p:cNvGrpSpPr/>
            <p:nvPr/>
          </p:nvGrpSpPr>
          <p:grpSpPr>
            <a:xfrm>
              <a:off x="7460049" y="2452418"/>
              <a:ext cx="1186564" cy="137068"/>
              <a:chOff x="178955" y="1936918"/>
              <a:chExt cx="1186564" cy="177061"/>
            </a:xfrm>
          </p:grpSpPr>
          <p:sp>
            <p:nvSpPr>
              <p:cNvPr id="328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9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0" name="Group 3029"/>
            <p:cNvGrpSpPr/>
            <p:nvPr/>
          </p:nvGrpSpPr>
          <p:grpSpPr>
            <a:xfrm>
              <a:off x="7460049" y="2603425"/>
              <a:ext cx="1186564" cy="137068"/>
              <a:chOff x="178955" y="1936918"/>
              <a:chExt cx="1186564" cy="177061"/>
            </a:xfrm>
          </p:grpSpPr>
          <p:sp>
            <p:nvSpPr>
              <p:cNvPr id="327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8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1" name="Group 3030"/>
            <p:cNvGrpSpPr/>
            <p:nvPr/>
          </p:nvGrpSpPr>
          <p:grpSpPr>
            <a:xfrm>
              <a:off x="7460049" y="2754433"/>
              <a:ext cx="1186564" cy="137068"/>
              <a:chOff x="178955" y="1936918"/>
              <a:chExt cx="1186564" cy="177061"/>
            </a:xfrm>
          </p:grpSpPr>
          <p:sp>
            <p:nvSpPr>
              <p:cNvPr id="325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6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7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2" name="Group 3031"/>
            <p:cNvGrpSpPr/>
            <p:nvPr/>
          </p:nvGrpSpPr>
          <p:grpSpPr>
            <a:xfrm>
              <a:off x="7460049" y="2905441"/>
              <a:ext cx="1186564" cy="137068"/>
              <a:chOff x="178955" y="1936918"/>
              <a:chExt cx="1186564" cy="177061"/>
            </a:xfrm>
          </p:grpSpPr>
          <p:sp>
            <p:nvSpPr>
              <p:cNvPr id="324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5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3" name="Group 3032"/>
            <p:cNvGrpSpPr/>
            <p:nvPr/>
          </p:nvGrpSpPr>
          <p:grpSpPr>
            <a:xfrm>
              <a:off x="7460049" y="3056448"/>
              <a:ext cx="1186564" cy="137068"/>
              <a:chOff x="178955" y="1936918"/>
              <a:chExt cx="1186564" cy="177061"/>
            </a:xfrm>
          </p:grpSpPr>
          <p:sp>
            <p:nvSpPr>
              <p:cNvPr id="322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3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4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4" name="Group 3033"/>
            <p:cNvGrpSpPr/>
            <p:nvPr/>
          </p:nvGrpSpPr>
          <p:grpSpPr>
            <a:xfrm>
              <a:off x="7460049" y="3207456"/>
              <a:ext cx="1186564" cy="137068"/>
              <a:chOff x="178955" y="1936918"/>
              <a:chExt cx="1186564" cy="177061"/>
            </a:xfrm>
          </p:grpSpPr>
          <p:sp>
            <p:nvSpPr>
              <p:cNvPr id="321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2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5" name="Group 3034"/>
            <p:cNvGrpSpPr/>
            <p:nvPr/>
          </p:nvGrpSpPr>
          <p:grpSpPr>
            <a:xfrm>
              <a:off x="7460049" y="3358464"/>
              <a:ext cx="1186564" cy="137068"/>
              <a:chOff x="178955" y="1936918"/>
              <a:chExt cx="1186564" cy="177061"/>
            </a:xfrm>
          </p:grpSpPr>
          <p:sp>
            <p:nvSpPr>
              <p:cNvPr id="320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1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6" name="Group 3035"/>
            <p:cNvGrpSpPr/>
            <p:nvPr/>
          </p:nvGrpSpPr>
          <p:grpSpPr>
            <a:xfrm>
              <a:off x="7460049" y="3509471"/>
              <a:ext cx="1186564" cy="137068"/>
              <a:chOff x="178955" y="1936918"/>
              <a:chExt cx="1186564" cy="177061"/>
            </a:xfrm>
          </p:grpSpPr>
          <p:sp>
            <p:nvSpPr>
              <p:cNvPr id="318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9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20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7" name="Group 3036"/>
            <p:cNvGrpSpPr/>
            <p:nvPr/>
          </p:nvGrpSpPr>
          <p:grpSpPr>
            <a:xfrm>
              <a:off x="7460049" y="3660479"/>
              <a:ext cx="1186564" cy="137068"/>
              <a:chOff x="178955" y="1936918"/>
              <a:chExt cx="1186564" cy="177061"/>
            </a:xfrm>
          </p:grpSpPr>
          <p:sp>
            <p:nvSpPr>
              <p:cNvPr id="317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8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8" name="Group 3037"/>
            <p:cNvGrpSpPr/>
            <p:nvPr/>
          </p:nvGrpSpPr>
          <p:grpSpPr>
            <a:xfrm>
              <a:off x="7460049" y="3811487"/>
              <a:ext cx="1186564" cy="137068"/>
              <a:chOff x="178955" y="1936918"/>
              <a:chExt cx="1186564" cy="177061"/>
            </a:xfrm>
          </p:grpSpPr>
          <p:sp>
            <p:nvSpPr>
              <p:cNvPr id="315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6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7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39" name="Group 3038"/>
            <p:cNvGrpSpPr/>
            <p:nvPr/>
          </p:nvGrpSpPr>
          <p:grpSpPr>
            <a:xfrm>
              <a:off x="7460049" y="3962494"/>
              <a:ext cx="1186564" cy="137068"/>
              <a:chOff x="178955" y="1936918"/>
              <a:chExt cx="1186564" cy="177061"/>
            </a:xfrm>
          </p:grpSpPr>
          <p:sp>
            <p:nvSpPr>
              <p:cNvPr id="314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5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40" name="Group 3039"/>
            <p:cNvGrpSpPr/>
            <p:nvPr/>
          </p:nvGrpSpPr>
          <p:grpSpPr>
            <a:xfrm>
              <a:off x="7460049" y="4113502"/>
              <a:ext cx="1186564" cy="137068"/>
              <a:chOff x="178955" y="1936918"/>
              <a:chExt cx="1186564" cy="177061"/>
            </a:xfrm>
          </p:grpSpPr>
          <p:sp>
            <p:nvSpPr>
              <p:cNvPr id="3131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2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3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4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5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6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7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8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9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0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1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2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3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44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41" name="Group 3040"/>
            <p:cNvGrpSpPr/>
            <p:nvPr/>
          </p:nvGrpSpPr>
          <p:grpSpPr>
            <a:xfrm>
              <a:off x="7460049" y="4264510"/>
              <a:ext cx="1186564" cy="137068"/>
              <a:chOff x="178955" y="1936918"/>
              <a:chExt cx="1186564" cy="177061"/>
            </a:xfrm>
          </p:grpSpPr>
          <p:sp>
            <p:nvSpPr>
              <p:cNvPr id="311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2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3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42" name="Group 3041"/>
            <p:cNvGrpSpPr/>
            <p:nvPr/>
          </p:nvGrpSpPr>
          <p:grpSpPr>
            <a:xfrm>
              <a:off x="7460049" y="4415517"/>
              <a:ext cx="1186564" cy="137068"/>
              <a:chOff x="178955" y="1936918"/>
              <a:chExt cx="1186564" cy="177061"/>
            </a:xfrm>
          </p:grpSpPr>
          <p:sp>
            <p:nvSpPr>
              <p:cNvPr id="3103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4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5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6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7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8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9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0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1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2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3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4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5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16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43" name="Group 3042"/>
            <p:cNvGrpSpPr/>
            <p:nvPr/>
          </p:nvGrpSpPr>
          <p:grpSpPr>
            <a:xfrm>
              <a:off x="7460049" y="4566525"/>
              <a:ext cx="1186564" cy="137068"/>
              <a:chOff x="178955" y="1936918"/>
              <a:chExt cx="1186564" cy="177061"/>
            </a:xfrm>
          </p:grpSpPr>
          <p:sp>
            <p:nvSpPr>
              <p:cNvPr id="3089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0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1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2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3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4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5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6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7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8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99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0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1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102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044" name="Group 3043"/>
            <p:cNvGrpSpPr/>
            <p:nvPr/>
          </p:nvGrpSpPr>
          <p:grpSpPr>
            <a:xfrm>
              <a:off x="7460049" y="4717533"/>
              <a:ext cx="1186564" cy="137068"/>
              <a:chOff x="178955" y="1936918"/>
              <a:chExt cx="1186564" cy="177061"/>
            </a:xfrm>
          </p:grpSpPr>
          <p:sp>
            <p:nvSpPr>
              <p:cNvPr id="3075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76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77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78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79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0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1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2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3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4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5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6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7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88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3061" name="Freeform 13"/>
            <p:cNvSpPr>
              <a:spLocks noEditPoints="1"/>
            </p:cNvSpPr>
            <p:nvPr/>
          </p:nvSpPr>
          <p:spPr bwMode="auto">
            <a:xfrm>
              <a:off x="7460049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2" name="Freeform 13"/>
            <p:cNvSpPr>
              <a:spLocks noEditPoints="1"/>
            </p:cNvSpPr>
            <p:nvPr/>
          </p:nvSpPr>
          <p:spPr bwMode="auto">
            <a:xfrm>
              <a:off x="754634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3" name="Freeform 13"/>
            <p:cNvSpPr>
              <a:spLocks noEditPoints="1"/>
            </p:cNvSpPr>
            <p:nvPr/>
          </p:nvSpPr>
          <p:spPr bwMode="auto">
            <a:xfrm>
              <a:off x="763264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4" name="Freeform 13"/>
            <p:cNvSpPr>
              <a:spLocks noEditPoints="1"/>
            </p:cNvSpPr>
            <p:nvPr/>
          </p:nvSpPr>
          <p:spPr bwMode="auto">
            <a:xfrm>
              <a:off x="771894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5" name="Freeform 13"/>
            <p:cNvSpPr>
              <a:spLocks noEditPoints="1"/>
            </p:cNvSpPr>
            <p:nvPr/>
          </p:nvSpPr>
          <p:spPr bwMode="auto">
            <a:xfrm>
              <a:off x="7805248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6" name="Freeform 13"/>
            <p:cNvSpPr>
              <a:spLocks noEditPoints="1"/>
            </p:cNvSpPr>
            <p:nvPr/>
          </p:nvSpPr>
          <p:spPr bwMode="auto">
            <a:xfrm>
              <a:off x="789154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7" name="Freeform 13"/>
            <p:cNvSpPr>
              <a:spLocks noEditPoints="1"/>
            </p:cNvSpPr>
            <p:nvPr/>
          </p:nvSpPr>
          <p:spPr bwMode="auto">
            <a:xfrm>
              <a:off x="7977847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8" name="Freeform 13"/>
            <p:cNvSpPr>
              <a:spLocks noEditPoints="1"/>
            </p:cNvSpPr>
            <p:nvPr/>
          </p:nvSpPr>
          <p:spPr bwMode="auto">
            <a:xfrm>
              <a:off x="806414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69" name="Freeform 13"/>
            <p:cNvSpPr>
              <a:spLocks noEditPoints="1"/>
            </p:cNvSpPr>
            <p:nvPr/>
          </p:nvSpPr>
          <p:spPr bwMode="auto">
            <a:xfrm>
              <a:off x="815044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70" name="Freeform 13"/>
            <p:cNvSpPr>
              <a:spLocks noEditPoints="1"/>
            </p:cNvSpPr>
            <p:nvPr/>
          </p:nvSpPr>
          <p:spPr bwMode="auto">
            <a:xfrm>
              <a:off x="823674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71" name="Freeform 13"/>
            <p:cNvSpPr>
              <a:spLocks noEditPoints="1"/>
            </p:cNvSpPr>
            <p:nvPr/>
          </p:nvSpPr>
          <p:spPr bwMode="auto">
            <a:xfrm>
              <a:off x="8323046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72" name="Freeform 13"/>
            <p:cNvSpPr>
              <a:spLocks noEditPoints="1"/>
            </p:cNvSpPr>
            <p:nvPr/>
          </p:nvSpPr>
          <p:spPr bwMode="auto">
            <a:xfrm>
              <a:off x="8409345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73" name="Freeform 13"/>
            <p:cNvSpPr>
              <a:spLocks noEditPoints="1"/>
            </p:cNvSpPr>
            <p:nvPr/>
          </p:nvSpPr>
          <p:spPr bwMode="auto">
            <a:xfrm>
              <a:off x="8495645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074" name="Freeform 13"/>
            <p:cNvSpPr>
              <a:spLocks noEditPoints="1"/>
            </p:cNvSpPr>
            <p:nvPr/>
          </p:nvSpPr>
          <p:spPr bwMode="auto">
            <a:xfrm>
              <a:off x="8581943" y="4868540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grpSp>
          <p:nvGrpSpPr>
            <p:cNvPr id="3046" name="Group 3045"/>
            <p:cNvGrpSpPr/>
            <p:nvPr/>
          </p:nvGrpSpPr>
          <p:grpSpPr>
            <a:xfrm>
              <a:off x="7460049" y="5019548"/>
              <a:ext cx="1186564" cy="137068"/>
              <a:chOff x="178955" y="1936918"/>
              <a:chExt cx="1186564" cy="177061"/>
            </a:xfrm>
            <a:solidFill>
              <a:srgbClr val="00A657"/>
            </a:solidFill>
          </p:grpSpPr>
          <p:sp>
            <p:nvSpPr>
              <p:cNvPr id="3047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48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49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0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1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2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3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4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5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6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7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8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59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060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56" name="Group 3355"/>
            <p:cNvGrpSpPr/>
            <p:nvPr/>
          </p:nvGrpSpPr>
          <p:grpSpPr>
            <a:xfrm>
              <a:off x="8919044" y="1848387"/>
              <a:ext cx="1186564" cy="137068"/>
              <a:chOff x="178955" y="1936918"/>
              <a:chExt cx="1186564" cy="177061"/>
            </a:xfrm>
          </p:grpSpPr>
          <p:sp>
            <p:nvSpPr>
              <p:cNvPr id="367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8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57" name="Group 3356"/>
            <p:cNvGrpSpPr/>
            <p:nvPr/>
          </p:nvGrpSpPr>
          <p:grpSpPr>
            <a:xfrm>
              <a:off x="8919044" y="1999395"/>
              <a:ext cx="1186564" cy="137068"/>
              <a:chOff x="178955" y="1936918"/>
              <a:chExt cx="1186564" cy="177061"/>
            </a:xfrm>
          </p:grpSpPr>
          <p:sp>
            <p:nvSpPr>
              <p:cNvPr id="365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6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7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58" name="Group 3357"/>
            <p:cNvGrpSpPr/>
            <p:nvPr/>
          </p:nvGrpSpPr>
          <p:grpSpPr>
            <a:xfrm>
              <a:off x="8919044" y="2150402"/>
              <a:ext cx="1186564" cy="137068"/>
              <a:chOff x="178955" y="1936918"/>
              <a:chExt cx="1186564" cy="177061"/>
            </a:xfrm>
          </p:grpSpPr>
          <p:sp>
            <p:nvSpPr>
              <p:cNvPr id="364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5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59" name="Group 3358"/>
            <p:cNvGrpSpPr/>
            <p:nvPr/>
          </p:nvGrpSpPr>
          <p:grpSpPr>
            <a:xfrm>
              <a:off x="8919044" y="2301410"/>
              <a:ext cx="1186564" cy="137068"/>
              <a:chOff x="178955" y="1936918"/>
              <a:chExt cx="1186564" cy="177061"/>
            </a:xfrm>
          </p:grpSpPr>
          <p:sp>
            <p:nvSpPr>
              <p:cNvPr id="363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3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4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0" name="Group 3359"/>
            <p:cNvGrpSpPr/>
            <p:nvPr/>
          </p:nvGrpSpPr>
          <p:grpSpPr>
            <a:xfrm>
              <a:off x="8919044" y="2452418"/>
              <a:ext cx="1186564" cy="137068"/>
              <a:chOff x="178955" y="1936918"/>
              <a:chExt cx="1186564" cy="177061"/>
            </a:xfrm>
          </p:grpSpPr>
          <p:sp>
            <p:nvSpPr>
              <p:cNvPr id="361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2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1" name="Group 3360"/>
            <p:cNvGrpSpPr/>
            <p:nvPr/>
          </p:nvGrpSpPr>
          <p:grpSpPr>
            <a:xfrm>
              <a:off x="8919044" y="2603425"/>
              <a:ext cx="1186564" cy="137068"/>
              <a:chOff x="178955" y="1936918"/>
              <a:chExt cx="1186564" cy="177061"/>
            </a:xfrm>
          </p:grpSpPr>
          <p:sp>
            <p:nvSpPr>
              <p:cNvPr id="360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1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2" name="Group 3361"/>
            <p:cNvGrpSpPr/>
            <p:nvPr/>
          </p:nvGrpSpPr>
          <p:grpSpPr>
            <a:xfrm>
              <a:off x="8919044" y="2754433"/>
              <a:ext cx="1186564" cy="137068"/>
              <a:chOff x="178955" y="1936918"/>
              <a:chExt cx="1186564" cy="177061"/>
            </a:xfrm>
          </p:grpSpPr>
          <p:sp>
            <p:nvSpPr>
              <p:cNvPr id="358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9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60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3" name="Group 3362"/>
            <p:cNvGrpSpPr/>
            <p:nvPr/>
          </p:nvGrpSpPr>
          <p:grpSpPr>
            <a:xfrm>
              <a:off x="8919044" y="2905441"/>
              <a:ext cx="1186564" cy="137068"/>
              <a:chOff x="178955" y="1936918"/>
              <a:chExt cx="1186564" cy="177061"/>
            </a:xfrm>
          </p:grpSpPr>
          <p:sp>
            <p:nvSpPr>
              <p:cNvPr id="357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8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4" name="Group 3363"/>
            <p:cNvGrpSpPr/>
            <p:nvPr/>
          </p:nvGrpSpPr>
          <p:grpSpPr>
            <a:xfrm>
              <a:off x="8919044" y="3056448"/>
              <a:ext cx="1186564" cy="137068"/>
              <a:chOff x="178955" y="1936918"/>
              <a:chExt cx="1186564" cy="177061"/>
            </a:xfrm>
          </p:grpSpPr>
          <p:sp>
            <p:nvSpPr>
              <p:cNvPr id="356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6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7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5" name="Group 3364"/>
            <p:cNvGrpSpPr/>
            <p:nvPr/>
          </p:nvGrpSpPr>
          <p:grpSpPr>
            <a:xfrm>
              <a:off x="8919044" y="3207456"/>
              <a:ext cx="1186564" cy="137068"/>
              <a:chOff x="178955" y="1936918"/>
              <a:chExt cx="1186564" cy="177061"/>
            </a:xfrm>
          </p:grpSpPr>
          <p:sp>
            <p:nvSpPr>
              <p:cNvPr id="354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5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6" name="Group 3365"/>
            <p:cNvGrpSpPr/>
            <p:nvPr/>
          </p:nvGrpSpPr>
          <p:grpSpPr>
            <a:xfrm>
              <a:off x="8919044" y="3358464"/>
              <a:ext cx="1186564" cy="137068"/>
              <a:chOff x="178955" y="1936918"/>
              <a:chExt cx="1186564" cy="177061"/>
            </a:xfrm>
          </p:grpSpPr>
          <p:sp>
            <p:nvSpPr>
              <p:cNvPr id="353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4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7" name="Group 3366"/>
            <p:cNvGrpSpPr/>
            <p:nvPr/>
          </p:nvGrpSpPr>
          <p:grpSpPr>
            <a:xfrm>
              <a:off x="8919044" y="3509471"/>
              <a:ext cx="1186564" cy="137068"/>
              <a:chOff x="178955" y="1936918"/>
              <a:chExt cx="1186564" cy="177061"/>
            </a:xfrm>
          </p:grpSpPr>
          <p:sp>
            <p:nvSpPr>
              <p:cNvPr id="351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2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3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8" name="Group 3367"/>
            <p:cNvGrpSpPr/>
            <p:nvPr/>
          </p:nvGrpSpPr>
          <p:grpSpPr>
            <a:xfrm>
              <a:off x="8919044" y="3660479"/>
              <a:ext cx="1186564" cy="137068"/>
              <a:chOff x="178955" y="1936918"/>
              <a:chExt cx="1186564" cy="177061"/>
            </a:xfrm>
          </p:grpSpPr>
          <p:sp>
            <p:nvSpPr>
              <p:cNvPr id="350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1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69" name="Group 3368"/>
            <p:cNvGrpSpPr/>
            <p:nvPr/>
          </p:nvGrpSpPr>
          <p:grpSpPr>
            <a:xfrm>
              <a:off x="8919044" y="3811487"/>
              <a:ext cx="1186564" cy="137068"/>
              <a:chOff x="178955" y="1936918"/>
              <a:chExt cx="1186564" cy="177061"/>
            </a:xfrm>
          </p:grpSpPr>
          <p:sp>
            <p:nvSpPr>
              <p:cNvPr id="349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9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50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0" name="Group 3369"/>
            <p:cNvGrpSpPr/>
            <p:nvPr/>
          </p:nvGrpSpPr>
          <p:grpSpPr>
            <a:xfrm>
              <a:off x="8919044" y="3962494"/>
              <a:ext cx="1186564" cy="137068"/>
              <a:chOff x="178955" y="1936918"/>
              <a:chExt cx="1186564" cy="177061"/>
            </a:xfrm>
          </p:grpSpPr>
          <p:sp>
            <p:nvSpPr>
              <p:cNvPr id="347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8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1" name="Group 3370"/>
            <p:cNvGrpSpPr/>
            <p:nvPr/>
          </p:nvGrpSpPr>
          <p:grpSpPr>
            <a:xfrm>
              <a:off x="8919044" y="4113502"/>
              <a:ext cx="1186564" cy="137068"/>
              <a:chOff x="178955" y="1936918"/>
              <a:chExt cx="1186564" cy="177061"/>
            </a:xfrm>
          </p:grpSpPr>
          <p:sp>
            <p:nvSpPr>
              <p:cNvPr id="346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7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2" name="Group 3371"/>
            <p:cNvGrpSpPr/>
            <p:nvPr/>
          </p:nvGrpSpPr>
          <p:grpSpPr>
            <a:xfrm>
              <a:off x="8919044" y="4264510"/>
              <a:ext cx="1186564" cy="137068"/>
              <a:chOff x="178955" y="1936918"/>
              <a:chExt cx="1186564" cy="177061"/>
            </a:xfrm>
          </p:grpSpPr>
          <p:sp>
            <p:nvSpPr>
              <p:cNvPr id="3448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9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0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1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2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3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4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5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6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7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8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59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0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61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3" name="Group 3372"/>
            <p:cNvGrpSpPr/>
            <p:nvPr/>
          </p:nvGrpSpPr>
          <p:grpSpPr>
            <a:xfrm>
              <a:off x="8919044" y="4415517"/>
              <a:ext cx="1186564" cy="137068"/>
              <a:chOff x="178955" y="1936918"/>
              <a:chExt cx="1186564" cy="177061"/>
            </a:xfrm>
          </p:grpSpPr>
          <p:sp>
            <p:nvSpPr>
              <p:cNvPr id="3434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5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6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7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8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9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0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1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2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3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4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5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6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47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4" name="Group 3373"/>
            <p:cNvGrpSpPr/>
            <p:nvPr/>
          </p:nvGrpSpPr>
          <p:grpSpPr>
            <a:xfrm>
              <a:off x="8919044" y="4566525"/>
              <a:ext cx="1186564" cy="137068"/>
              <a:chOff x="178955" y="1936918"/>
              <a:chExt cx="1186564" cy="177061"/>
            </a:xfrm>
          </p:grpSpPr>
          <p:sp>
            <p:nvSpPr>
              <p:cNvPr id="3420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1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2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3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4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5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6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7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8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29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0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1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2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33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5" name="Group 3374"/>
            <p:cNvGrpSpPr/>
            <p:nvPr/>
          </p:nvGrpSpPr>
          <p:grpSpPr>
            <a:xfrm>
              <a:off x="8919044" y="4717533"/>
              <a:ext cx="1186564" cy="137068"/>
              <a:chOff x="178955" y="1936918"/>
              <a:chExt cx="1186564" cy="177061"/>
            </a:xfrm>
          </p:grpSpPr>
          <p:sp>
            <p:nvSpPr>
              <p:cNvPr id="3406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7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8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9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0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1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2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3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4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5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6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7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8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19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grpSp>
          <p:nvGrpSpPr>
            <p:cNvPr id="3376" name="Group 3375"/>
            <p:cNvGrpSpPr/>
            <p:nvPr/>
          </p:nvGrpSpPr>
          <p:grpSpPr>
            <a:xfrm>
              <a:off x="8919044" y="4868540"/>
              <a:ext cx="1186564" cy="137068"/>
              <a:chOff x="178955" y="1936918"/>
              <a:chExt cx="1186564" cy="177061"/>
            </a:xfrm>
          </p:grpSpPr>
          <p:sp>
            <p:nvSpPr>
              <p:cNvPr id="3392" name="Freeform 13"/>
              <p:cNvSpPr>
                <a:spLocks noEditPoints="1"/>
              </p:cNvSpPr>
              <p:nvPr/>
            </p:nvSpPr>
            <p:spPr bwMode="auto">
              <a:xfrm>
                <a:off x="178955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3" name="Freeform 13"/>
              <p:cNvSpPr>
                <a:spLocks noEditPoints="1"/>
              </p:cNvSpPr>
              <p:nvPr/>
            </p:nvSpPr>
            <p:spPr bwMode="auto">
              <a:xfrm>
                <a:off x="2652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4" name="Freeform 13"/>
              <p:cNvSpPr>
                <a:spLocks noEditPoints="1"/>
              </p:cNvSpPr>
              <p:nvPr/>
            </p:nvSpPr>
            <p:spPr bwMode="auto">
              <a:xfrm>
                <a:off x="3515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5" name="Freeform 13"/>
              <p:cNvSpPr>
                <a:spLocks noEditPoints="1"/>
              </p:cNvSpPr>
              <p:nvPr/>
            </p:nvSpPr>
            <p:spPr bwMode="auto">
              <a:xfrm>
                <a:off x="4378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6" name="Freeform 13"/>
              <p:cNvSpPr>
                <a:spLocks noEditPoints="1"/>
              </p:cNvSpPr>
              <p:nvPr/>
            </p:nvSpPr>
            <p:spPr bwMode="auto">
              <a:xfrm>
                <a:off x="524154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7" name="Freeform 13"/>
              <p:cNvSpPr>
                <a:spLocks noEditPoints="1"/>
              </p:cNvSpPr>
              <p:nvPr/>
            </p:nvSpPr>
            <p:spPr bwMode="auto">
              <a:xfrm>
                <a:off x="6104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8" name="Freeform 13"/>
              <p:cNvSpPr>
                <a:spLocks noEditPoints="1"/>
              </p:cNvSpPr>
              <p:nvPr/>
            </p:nvSpPr>
            <p:spPr bwMode="auto">
              <a:xfrm>
                <a:off x="696753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399" name="Freeform 13"/>
              <p:cNvSpPr>
                <a:spLocks noEditPoints="1"/>
              </p:cNvSpPr>
              <p:nvPr/>
            </p:nvSpPr>
            <p:spPr bwMode="auto">
              <a:xfrm>
                <a:off x="7830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0" name="Freeform 13"/>
              <p:cNvSpPr>
                <a:spLocks noEditPoints="1"/>
              </p:cNvSpPr>
              <p:nvPr/>
            </p:nvSpPr>
            <p:spPr bwMode="auto">
              <a:xfrm>
                <a:off x="8693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1" name="Freeform 13"/>
              <p:cNvSpPr>
                <a:spLocks noEditPoints="1"/>
              </p:cNvSpPr>
              <p:nvPr/>
            </p:nvSpPr>
            <p:spPr bwMode="auto">
              <a:xfrm>
                <a:off x="9556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2" name="Freeform 13"/>
              <p:cNvSpPr>
                <a:spLocks noEditPoints="1"/>
              </p:cNvSpPr>
              <p:nvPr/>
            </p:nvSpPr>
            <p:spPr bwMode="auto">
              <a:xfrm>
                <a:off x="1041952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3" name="Freeform 13"/>
              <p:cNvSpPr>
                <a:spLocks noEditPoints="1"/>
              </p:cNvSpPr>
              <p:nvPr/>
            </p:nvSpPr>
            <p:spPr bwMode="auto">
              <a:xfrm>
                <a:off x="11282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4" name="Freeform 13"/>
              <p:cNvSpPr>
                <a:spLocks noEditPoints="1"/>
              </p:cNvSpPr>
              <p:nvPr/>
            </p:nvSpPr>
            <p:spPr bwMode="auto">
              <a:xfrm>
                <a:off x="1214551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  <p:sp>
            <p:nvSpPr>
              <p:cNvPr id="3405" name="Freeform 13"/>
              <p:cNvSpPr>
                <a:spLocks noEditPoints="1"/>
              </p:cNvSpPr>
              <p:nvPr/>
            </p:nvSpPr>
            <p:spPr bwMode="auto">
              <a:xfrm>
                <a:off x="1300849" y="1936918"/>
                <a:ext cx="64670" cy="17706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>
                  <a:latin typeface="+mn-lt"/>
                </a:endParaRPr>
              </a:p>
            </p:txBody>
          </p:sp>
        </p:grpSp>
        <p:sp>
          <p:nvSpPr>
            <p:cNvPr id="3378" name="Freeform 13"/>
            <p:cNvSpPr>
              <a:spLocks noEditPoints="1"/>
            </p:cNvSpPr>
            <p:nvPr/>
          </p:nvSpPr>
          <p:spPr bwMode="auto">
            <a:xfrm>
              <a:off x="8919044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79" name="Freeform 13"/>
            <p:cNvSpPr>
              <a:spLocks noEditPoints="1"/>
            </p:cNvSpPr>
            <p:nvPr/>
          </p:nvSpPr>
          <p:spPr bwMode="auto">
            <a:xfrm>
              <a:off x="9005343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gradFill flip="none" rotWithShape="1">
              <a:gsLst>
                <a:gs pos="49000">
                  <a:srgbClr val="00B050"/>
                </a:gs>
                <a:gs pos="64000">
                  <a:schemeClr val="bg1">
                    <a:lumMod val="95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0" name="Freeform 13"/>
            <p:cNvSpPr>
              <a:spLocks noEditPoints="1"/>
            </p:cNvSpPr>
            <p:nvPr/>
          </p:nvSpPr>
          <p:spPr bwMode="auto">
            <a:xfrm>
              <a:off x="9091643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1" name="Freeform 13"/>
            <p:cNvSpPr>
              <a:spLocks noEditPoints="1"/>
            </p:cNvSpPr>
            <p:nvPr/>
          </p:nvSpPr>
          <p:spPr bwMode="auto">
            <a:xfrm>
              <a:off x="9177942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2" name="Freeform 13"/>
            <p:cNvSpPr>
              <a:spLocks noEditPoints="1"/>
            </p:cNvSpPr>
            <p:nvPr/>
          </p:nvSpPr>
          <p:spPr bwMode="auto">
            <a:xfrm>
              <a:off x="9264243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3" name="Freeform 13"/>
            <p:cNvSpPr>
              <a:spLocks noEditPoints="1"/>
            </p:cNvSpPr>
            <p:nvPr/>
          </p:nvSpPr>
          <p:spPr bwMode="auto">
            <a:xfrm>
              <a:off x="9350542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4" name="Freeform 13"/>
            <p:cNvSpPr>
              <a:spLocks noEditPoints="1"/>
            </p:cNvSpPr>
            <p:nvPr/>
          </p:nvSpPr>
          <p:spPr bwMode="auto">
            <a:xfrm>
              <a:off x="9436842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5" name="Freeform 13"/>
            <p:cNvSpPr>
              <a:spLocks noEditPoints="1"/>
            </p:cNvSpPr>
            <p:nvPr/>
          </p:nvSpPr>
          <p:spPr bwMode="auto">
            <a:xfrm>
              <a:off x="952314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6" name="Freeform 13"/>
            <p:cNvSpPr>
              <a:spLocks noEditPoints="1"/>
            </p:cNvSpPr>
            <p:nvPr/>
          </p:nvSpPr>
          <p:spPr bwMode="auto">
            <a:xfrm>
              <a:off x="960944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7" name="Freeform 13"/>
            <p:cNvSpPr>
              <a:spLocks noEditPoints="1"/>
            </p:cNvSpPr>
            <p:nvPr/>
          </p:nvSpPr>
          <p:spPr bwMode="auto">
            <a:xfrm>
              <a:off x="969574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8" name="Freeform 13"/>
            <p:cNvSpPr>
              <a:spLocks noEditPoints="1"/>
            </p:cNvSpPr>
            <p:nvPr/>
          </p:nvSpPr>
          <p:spPr bwMode="auto">
            <a:xfrm>
              <a:off x="9782041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89" name="Freeform 13"/>
            <p:cNvSpPr>
              <a:spLocks noEditPoints="1"/>
            </p:cNvSpPr>
            <p:nvPr/>
          </p:nvSpPr>
          <p:spPr bwMode="auto">
            <a:xfrm>
              <a:off x="986834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90" name="Freeform 13"/>
            <p:cNvSpPr>
              <a:spLocks noEditPoints="1"/>
            </p:cNvSpPr>
            <p:nvPr/>
          </p:nvSpPr>
          <p:spPr bwMode="auto">
            <a:xfrm>
              <a:off x="9954640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391" name="Freeform 13"/>
            <p:cNvSpPr>
              <a:spLocks noEditPoints="1"/>
            </p:cNvSpPr>
            <p:nvPr/>
          </p:nvSpPr>
          <p:spPr bwMode="auto">
            <a:xfrm>
              <a:off x="10040938" y="5019548"/>
              <a:ext cx="64670" cy="137068"/>
            </a:xfrm>
            <a:custGeom>
              <a:avLst/>
              <a:gdLst>
                <a:gd name="T0" fmla="*/ 54 w 201"/>
                <a:gd name="T1" fmla="*/ 95 h 510"/>
                <a:gd name="T2" fmla="*/ 16 w 201"/>
                <a:gd name="T3" fmla="*/ 111 h 510"/>
                <a:gd name="T4" fmla="*/ 0 w 201"/>
                <a:gd name="T5" fmla="*/ 149 h 510"/>
                <a:gd name="T6" fmla="*/ 0 w 201"/>
                <a:gd name="T7" fmla="*/ 280 h 510"/>
                <a:gd name="T8" fmla="*/ 6 w 201"/>
                <a:gd name="T9" fmla="*/ 293 h 510"/>
                <a:gd name="T10" fmla="*/ 19 w 201"/>
                <a:gd name="T11" fmla="*/ 298 h 510"/>
                <a:gd name="T12" fmla="*/ 32 w 201"/>
                <a:gd name="T13" fmla="*/ 293 h 510"/>
                <a:gd name="T14" fmla="*/ 37 w 201"/>
                <a:gd name="T15" fmla="*/ 280 h 510"/>
                <a:gd name="T16" fmla="*/ 37 w 201"/>
                <a:gd name="T17" fmla="*/ 162 h 510"/>
                <a:gd name="T18" fmla="*/ 46 w 201"/>
                <a:gd name="T19" fmla="*/ 162 h 510"/>
                <a:gd name="T20" fmla="*/ 46 w 201"/>
                <a:gd name="T21" fmla="*/ 487 h 510"/>
                <a:gd name="T22" fmla="*/ 54 w 201"/>
                <a:gd name="T23" fmla="*/ 503 h 510"/>
                <a:gd name="T24" fmla="*/ 71 w 201"/>
                <a:gd name="T25" fmla="*/ 510 h 510"/>
                <a:gd name="T26" fmla="*/ 89 w 201"/>
                <a:gd name="T27" fmla="*/ 503 h 510"/>
                <a:gd name="T28" fmla="*/ 96 w 201"/>
                <a:gd name="T29" fmla="*/ 487 h 510"/>
                <a:gd name="T30" fmla="*/ 96 w 201"/>
                <a:gd name="T31" fmla="*/ 299 h 510"/>
                <a:gd name="T32" fmla="*/ 106 w 201"/>
                <a:gd name="T33" fmla="*/ 299 h 510"/>
                <a:gd name="T34" fmla="*/ 106 w 201"/>
                <a:gd name="T35" fmla="*/ 487 h 510"/>
                <a:gd name="T36" fmla="*/ 114 w 201"/>
                <a:gd name="T37" fmla="*/ 503 h 510"/>
                <a:gd name="T38" fmla="*/ 132 w 201"/>
                <a:gd name="T39" fmla="*/ 510 h 510"/>
                <a:gd name="T40" fmla="*/ 148 w 201"/>
                <a:gd name="T41" fmla="*/ 503 h 510"/>
                <a:gd name="T42" fmla="*/ 155 w 201"/>
                <a:gd name="T43" fmla="*/ 487 h 510"/>
                <a:gd name="T44" fmla="*/ 155 w 201"/>
                <a:gd name="T45" fmla="*/ 162 h 510"/>
                <a:gd name="T46" fmla="*/ 165 w 201"/>
                <a:gd name="T47" fmla="*/ 162 h 510"/>
                <a:gd name="T48" fmla="*/ 165 w 201"/>
                <a:gd name="T49" fmla="*/ 280 h 510"/>
                <a:gd name="T50" fmla="*/ 170 w 201"/>
                <a:gd name="T51" fmla="*/ 293 h 510"/>
                <a:gd name="T52" fmla="*/ 183 w 201"/>
                <a:gd name="T53" fmla="*/ 298 h 510"/>
                <a:gd name="T54" fmla="*/ 196 w 201"/>
                <a:gd name="T55" fmla="*/ 293 h 510"/>
                <a:gd name="T56" fmla="*/ 201 w 201"/>
                <a:gd name="T57" fmla="*/ 280 h 510"/>
                <a:gd name="T58" fmla="*/ 201 w 201"/>
                <a:gd name="T59" fmla="*/ 149 h 510"/>
                <a:gd name="T60" fmla="*/ 185 w 201"/>
                <a:gd name="T61" fmla="*/ 111 h 510"/>
                <a:gd name="T62" fmla="*/ 147 w 201"/>
                <a:gd name="T63" fmla="*/ 95 h 510"/>
                <a:gd name="T64" fmla="*/ 54 w 201"/>
                <a:gd name="T65" fmla="*/ 95 h 510"/>
                <a:gd name="T66" fmla="*/ 101 w 201"/>
                <a:gd name="T67" fmla="*/ 84 h 510"/>
                <a:gd name="T68" fmla="*/ 131 w 201"/>
                <a:gd name="T69" fmla="*/ 72 h 510"/>
                <a:gd name="T70" fmla="*/ 143 w 201"/>
                <a:gd name="T71" fmla="*/ 42 h 510"/>
                <a:gd name="T72" fmla="*/ 131 w 201"/>
                <a:gd name="T73" fmla="*/ 13 h 510"/>
                <a:gd name="T74" fmla="*/ 101 w 201"/>
                <a:gd name="T75" fmla="*/ 0 h 510"/>
                <a:gd name="T76" fmla="*/ 71 w 201"/>
                <a:gd name="T77" fmla="*/ 13 h 510"/>
                <a:gd name="T78" fmla="*/ 59 w 201"/>
                <a:gd name="T79" fmla="*/ 42 h 510"/>
                <a:gd name="T80" fmla="*/ 71 w 201"/>
                <a:gd name="T81" fmla="*/ 72 h 510"/>
                <a:gd name="T82" fmla="*/ 101 w 201"/>
                <a:gd name="T83" fmla="*/ 84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1" h="510">
                  <a:moveTo>
                    <a:pt x="54" y="95"/>
                  </a:moveTo>
                  <a:cubicBezTo>
                    <a:pt x="39" y="95"/>
                    <a:pt x="27" y="100"/>
                    <a:pt x="16" y="111"/>
                  </a:cubicBezTo>
                  <a:cubicBezTo>
                    <a:pt x="6" y="122"/>
                    <a:pt x="0" y="134"/>
                    <a:pt x="0" y="149"/>
                  </a:cubicBezTo>
                  <a:cubicBezTo>
                    <a:pt x="0" y="280"/>
                    <a:pt x="0" y="280"/>
                    <a:pt x="0" y="280"/>
                  </a:cubicBezTo>
                  <a:cubicBezTo>
                    <a:pt x="0" y="285"/>
                    <a:pt x="2" y="289"/>
                    <a:pt x="6" y="293"/>
                  </a:cubicBezTo>
                  <a:cubicBezTo>
                    <a:pt x="9" y="296"/>
                    <a:pt x="14" y="298"/>
                    <a:pt x="19" y="298"/>
                  </a:cubicBezTo>
                  <a:cubicBezTo>
                    <a:pt x="24" y="298"/>
                    <a:pt x="29" y="296"/>
                    <a:pt x="32" y="293"/>
                  </a:cubicBezTo>
                  <a:cubicBezTo>
                    <a:pt x="35" y="289"/>
                    <a:pt x="37" y="285"/>
                    <a:pt x="37" y="280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46" y="162"/>
                    <a:pt x="46" y="162"/>
                    <a:pt x="46" y="162"/>
                  </a:cubicBezTo>
                  <a:cubicBezTo>
                    <a:pt x="46" y="487"/>
                    <a:pt x="46" y="487"/>
                    <a:pt x="46" y="487"/>
                  </a:cubicBezTo>
                  <a:cubicBezTo>
                    <a:pt x="46" y="493"/>
                    <a:pt x="49" y="499"/>
                    <a:pt x="54" y="503"/>
                  </a:cubicBezTo>
                  <a:cubicBezTo>
                    <a:pt x="59" y="508"/>
                    <a:pt x="65" y="510"/>
                    <a:pt x="71" y="510"/>
                  </a:cubicBezTo>
                  <a:cubicBezTo>
                    <a:pt x="78" y="510"/>
                    <a:pt x="84" y="508"/>
                    <a:pt x="89" y="503"/>
                  </a:cubicBezTo>
                  <a:cubicBezTo>
                    <a:pt x="94" y="499"/>
                    <a:pt x="96" y="493"/>
                    <a:pt x="96" y="487"/>
                  </a:cubicBezTo>
                  <a:cubicBezTo>
                    <a:pt x="96" y="299"/>
                    <a:pt x="96" y="299"/>
                    <a:pt x="96" y="299"/>
                  </a:cubicBezTo>
                  <a:cubicBezTo>
                    <a:pt x="106" y="299"/>
                    <a:pt x="106" y="299"/>
                    <a:pt x="106" y="299"/>
                  </a:cubicBezTo>
                  <a:cubicBezTo>
                    <a:pt x="106" y="487"/>
                    <a:pt x="106" y="487"/>
                    <a:pt x="106" y="487"/>
                  </a:cubicBezTo>
                  <a:cubicBezTo>
                    <a:pt x="106" y="493"/>
                    <a:pt x="109" y="499"/>
                    <a:pt x="114" y="503"/>
                  </a:cubicBezTo>
                  <a:cubicBezTo>
                    <a:pt x="118" y="508"/>
                    <a:pt x="124" y="510"/>
                    <a:pt x="132" y="510"/>
                  </a:cubicBezTo>
                  <a:cubicBezTo>
                    <a:pt x="138" y="510"/>
                    <a:pt x="143" y="508"/>
                    <a:pt x="148" y="503"/>
                  </a:cubicBezTo>
                  <a:cubicBezTo>
                    <a:pt x="153" y="499"/>
                    <a:pt x="155" y="493"/>
                    <a:pt x="155" y="487"/>
                  </a:cubicBezTo>
                  <a:cubicBezTo>
                    <a:pt x="155" y="162"/>
                    <a:pt x="155" y="162"/>
                    <a:pt x="155" y="162"/>
                  </a:cubicBezTo>
                  <a:cubicBezTo>
                    <a:pt x="165" y="162"/>
                    <a:pt x="165" y="162"/>
                    <a:pt x="165" y="162"/>
                  </a:cubicBezTo>
                  <a:cubicBezTo>
                    <a:pt x="165" y="280"/>
                    <a:pt x="165" y="280"/>
                    <a:pt x="165" y="280"/>
                  </a:cubicBezTo>
                  <a:cubicBezTo>
                    <a:pt x="165" y="285"/>
                    <a:pt x="166" y="289"/>
                    <a:pt x="170" y="293"/>
                  </a:cubicBezTo>
                  <a:cubicBezTo>
                    <a:pt x="173" y="296"/>
                    <a:pt x="178" y="298"/>
                    <a:pt x="183" y="298"/>
                  </a:cubicBezTo>
                  <a:cubicBezTo>
                    <a:pt x="189" y="298"/>
                    <a:pt x="193" y="296"/>
                    <a:pt x="196" y="293"/>
                  </a:cubicBezTo>
                  <a:cubicBezTo>
                    <a:pt x="199" y="289"/>
                    <a:pt x="201" y="285"/>
                    <a:pt x="201" y="280"/>
                  </a:cubicBezTo>
                  <a:cubicBezTo>
                    <a:pt x="201" y="149"/>
                    <a:pt x="201" y="149"/>
                    <a:pt x="201" y="149"/>
                  </a:cubicBezTo>
                  <a:cubicBezTo>
                    <a:pt x="201" y="134"/>
                    <a:pt x="196" y="122"/>
                    <a:pt x="185" y="111"/>
                  </a:cubicBezTo>
                  <a:cubicBezTo>
                    <a:pt x="175" y="100"/>
                    <a:pt x="163" y="95"/>
                    <a:pt x="147" y="95"/>
                  </a:cubicBezTo>
                  <a:lnTo>
                    <a:pt x="54" y="95"/>
                  </a:lnTo>
                  <a:close/>
                  <a:moveTo>
                    <a:pt x="101" y="84"/>
                  </a:moveTo>
                  <a:cubicBezTo>
                    <a:pt x="112" y="84"/>
                    <a:pt x="123" y="80"/>
                    <a:pt x="131" y="72"/>
                  </a:cubicBezTo>
                  <a:cubicBezTo>
                    <a:pt x="139" y="64"/>
                    <a:pt x="143" y="54"/>
                    <a:pt x="143" y="42"/>
                  </a:cubicBezTo>
                  <a:cubicBezTo>
                    <a:pt x="143" y="31"/>
                    <a:pt x="139" y="21"/>
                    <a:pt x="131" y="13"/>
                  </a:cubicBezTo>
                  <a:cubicBezTo>
                    <a:pt x="122" y="4"/>
                    <a:pt x="112" y="0"/>
                    <a:pt x="101" y="0"/>
                  </a:cubicBezTo>
                  <a:cubicBezTo>
                    <a:pt x="89" y="0"/>
                    <a:pt x="79" y="4"/>
                    <a:pt x="71" y="13"/>
                  </a:cubicBezTo>
                  <a:cubicBezTo>
                    <a:pt x="63" y="21"/>
                    <a:pt x="59" y="31"/>
                    <a:pt x="59" y="42"/>
                  </a:cubicBezTo>
                  <a:cubicBezTo>
                    <a:pt x="59" y="54"/>
                    <a:pt x="63" y="64"/>
                    <a:pt x="71" y="72"/>
                  </a:cubicBezTo>
                  <a:cubicBezTo>
                    <a:pt x="79" y="80"/>
                    <a:pt x="89" y="84"/>
                    <a:pt x="101" y="84"/>
                  </a:cubicBezTo>
                  <a:close/>
                </a:path>
              </a:pathLst>
            </a:custGeom>
            <a:solidFill>
              <a:srgbClr val="00A6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>
                <a:latin typeface="+mn-lt"/>
              </a:endParaRPr>
            </a:p>
          </p:txBody>
        </p:sp>
        <p:sp>
          <p:nvSpPr>
            <p:cNvPr id="3686" name="Freeform 3685"/>
            <p:cNvSpPr/>
            <p:nvPr/>
          </p:nvSpPr>
          <p:spPr>
            <a:xfrm>
              <a:off x="9201165" y="4772733"/>
              <a:ext cx="0" cy="171450"/>
            </a:xfrm>
            <a:custGeom>
              <a:avLst/>
              <a:gdLst>
                <a:gd name="connsiteX0" fmla="*/ 0 w 0"/>
                <a:gd name="connsiteY0" fmla="*/ 0 h 171450"/>
                <a:gd name="connsiteX1" fmla="*/ 0 w 0"/>
                <a:gd name="connsiteY1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71450">
                  <a:moveTo>
                    <a:pt x="0" y="0"/>
                  </a:moveTo>
                  <a:lnTo>
                    <a:pt x="0" y="171450"/>
                  </a:lnTo>
                </a:path>
              </a:pathLst>
            </a:custGeom>
            <a:noFill/>
            <a:ln w="9525">
              <a:solidFill>
                <a:schemeClr val="bg1">
                  <a:lumMod val="50000"/>
                </a:schemeClr>
              </a:solidFill>
              <a:tailEnd type="oval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3687" name="Rectangle 3686"/>
            <p:cNvSpPr/>
            <p:nvPr/>
          </p:nvSpPr>
          <p:spPr>
            <a:xfrm>
              <a:off x="8990099" y="4046281"/>
              <a:ext cx="1109757" cy="76944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r>
                <a:rPr lang="en-GB" sz="1100" dirty="0">
                  <a:solidFill>
                    <a:schemeClr val="tx1"/>
                  </a:solidFill>
                </a:rPr>
                <a:t>This entire fraction is the population </a:t>
              </a:r>
              <a:br>
                <a:rPr lang="en-GB" sz="1100" dirty="0">
                  <a:solidFill>
                    <a:schemeClr val="tx1"/>
                  </a:solidFill>
                </a:rPr>
              </a:br>
              <a:r>
                <a:rPr lang="en-GB" sz="1100" dirty="0">
                  <a:solidFill>
                    <a:schemeClr val="tx1"/>
                  </a:solidFill>
                </a:rPr>
                <a:t>of Delhi </a:t>
              </a:r>
            </a:p>
          </p:txBody>
        </p:sp>
        <p:grpSp>
          <p:nvGrpSpPr>
            <p:cNvPr id="2029" name="Group 2028"/>
            <p:cNvGrpSpPr/>
            <p:nvPr/>
          </p:nvGrpSpPr>
          <p:grpSpPr>
            <a:xfrm>
              <a:off x="9845914" y="235459"/>
              <a:ext cx="376706" cy="583225"/>
              <a:chOff x="8775349" y="450399"/>
              <a:chExt cx="376706" cy="583225"/>
            </a:xfrm>
          </p:grpSpPr>
          <p:sp>
            <p:nvSpPr>
              <p:cNvPr id="2040" name="Freeform 13"/>
              <p:cNvSpPr>
                <a:spLocks noEditPoints="1"/>
              </p:cNvSpPr>
              <p:nvPr/>
            </p:nvSpPr>
            <p:spPr bwMode="auto">
              <a:xfrm>
                <a:off x="8920934" y="450399"/>
                <a:ext cx="131701" cy="331581"/>
              </a:xfrm>
              <a:custGeom>
                <a:avLst/>
                <a:gdLst>
                  <a:gd name="T0" fmla="*/ 54 w 201"/>
                  <a:gd name="T1" fmla="*/ 95 h 510"/>
                  <a:gd name="T2" fmla="*/ 16 w 201"/>
                  <a:gd name="T3" fmla="*/ 111 h 510"/>
                  <a:gd name="T4" fmla="*/ 0 w 201"/>
                  <a:gd name="T5" fmla="*/ 149 h 510"/>
                  <a:gd name="T6" fmla="*/ 0 w 201"/>
                  <a:gd name="T7" fmla="*/ 280 h 510"/>
                  <a:gd name="T8" fmla="*/ 6 w 201"/>
                  <a:gd name="T9" fmla="*/ 293 h 510"/>
                  <a:gd name="T10" fmla="*/ 19 w 201"/>
                  <a:gd name="T11" fmla="*/ 298 h 510"/>
                  <a:gd name="T12" fmla="*/ 32 w 201"/>
                  <a:gd name="T13" fmla="*/ 293 h 510"/>
                  <a:gd name="T14" fmla="*/ 37 w 201"/>
                  <a:gd name="T15" fmla="*/ 280 h 510"/>
                  <a:gd name="T16" fmla="*/ 37 w 201"/>
                  <a:gd name="T17" fmla="*/ 162 h 510"/>
                  <a:gd name="T18" fmla="*/ 46 w 201"/>
                  <a:gd name="T19" fmla="*/ 162 h 510"/>
                  <a:gd name="T20" fmla="*/ 46 w 201"/>
                  <a:gd name="T21" fmla="*/ 487 h 510"/>
                  <a:gd name="T22" fmla="*/ 54 w 201"/>
                  <a:gd name="T23" fmla="*/ 503 h 510"/>
                  <a:gd name="T24" fmla="*/ 71 w 201"/>
                  <a:gd name="T25" fmla="*/ 510 h 510"/>
                  <a:gd name="T26" fmla="*/ 89 w 201"/>
                  <a:gd name="T27" fmla="*/ 503 h 510"/>
                  <a:gd name="T28" fmla="*/ 96 w 201"/>
                  <a:gd name="T29" fmla="*/ 487 h 510"/>
                  <a:gd name="T30" fmla="*/ 96 w 201"/>
                  <a:gd name="T31" fmla="*/ 299 h 510"/>
                  <a:gd name="T32" fmla="*/ 106 w 201"/>
                  <a:gd name="T33" fmla="*/ 299 h 510"/>
                  <a:gd name="T34" fmla="*/ 106 w 201"/>
                  <a:gd name="T35" fmla="*/ 487 h 510"/>
                  <a:gd name="T36" fmla="*/ 114 w 201"/>
                  <a:gd name="T37" fmla="*/ 503 h 510"/>
                  <a:gd name="T38" fmla="*/ 132 w 201"/>
                  <a:gd name="T39" fmla="*/ 510 h 510"/>
                  <a:gd name="T40" fmla="*/ 148 w 201"/>
                  <a:gd name="T41" fmla="*/ 503 h 510"/>
                  <a:gd name="T42" fmla="*/ 155 w 201"/>
                  <a:gd name="T43" fmla="*/ 487 h 510"/>
                  <a:gd name="T44" fmla="*/ 155 w 201"/>
                  <a:gd name="T45" fmla="*/ 162 h 510"/>
                  <a:gd name="T46" fmla="*/ 165 w 201"/>
                  <a:gd name="T47" fmla="*/ 162 h 510"/>
                  <a:gd name="T48" fmla="*/ 165 w 201"/>
                  <a:gd name="T49" fmla="*/ 280 h 510"/>
                  <a:gd name="T50" fmla="*/ 170 w 201"/>
                  <a:gd name="T51" fmla="*/ 293 h 510"/>
                  <a:gd name="T52" fmla="*/ 183 w 201"/>
                  <a:gd name="T53" fmla="*/ 298 h 510"/>
                  <a:gd name="T54" fmla="*/ 196 w 201"/>
                  <a:gd name="T55" fmla="*/ 293 h 510"/>
                  <a:gd name="T56" fmla="*/ 201 w 201"/>
                  <a:gd name="T57" fmla="*/ 280 h 510"/>
                  <a:gd name="T58" fmla="*/ 201 w 201"/>
                  <a:gd name="T59" fmla="*/ 149 h 510"/>
                  <a:gd name="T60" fmla="*/ 185 w 201"/>
                  <a:gd name="T61" fmla="*/ 111 h 510"/>
                  <a:gd name="T62" fmla="*/ 147 w 201"/>
                  <a:gd name="T63" fmla="*/ 95 h 510"/>
                  <a:gd name="T64" fmla="*/ 54 w 201"/>
                  <a:gd name="T65" fmla="*/ 95 h 510"/>
                  <a:gd name="T66" fmla="*/ 101 w 201"/>
                  <a:gd name="T67" fmla="*/ 84 h 510"/>
                  <a:gd name="T68" fmla="*/ 131 w 201"/>
                  <a:gd name="T69" fmla="*/ 72 h 510"/>
                  <a:gd name="T70" fmla="*/ 143 w 201"/>
                  <a:gd name="T71" fmla="*/ 42 h 510"/>
                  <a:gd name="T72" fmla="*/ 131 w 201"/>
                  <a:gd name="T73" fmla="*/ 13 h 510"/>
                  <a:gd name="T74" fmla="*/ 101 w 201"/>
                  <a:gd name="T75" fmla="*/ 0 h 510"/>
                  <a:gd name="T76" fmla="*/ 71 w 201"/>
                  <a:gd name="T77" fmla="*/ 13 h 510"/>
                  <a:gd name="T78" fmla="*/ 59 w 201"/>
                  <a:gd name="T79" fmla="*/ 42 h 510"/>
                  <a:gd name="T80" fmla="*/ 71 w 201"/>
                  <a:gd name="T81" fmla="*/ 72 h 510"/>
                  <a:gd name="T82" fmla="*/ 101 w 201"/>
                  <a:gd name="T83" fmla="*/ 84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1" h="510">
                    <a:moveTo>
                      <a:pt x="54" y="95"/>
                    </a:moveTo>
                    <a:cubicBezTo>
                      <a:pt x="39" y="95"/>
                      <a:pt x="27" y="100"/>
                      <a:pt x="16" y="111"/>
                    </a:cubicBezTo>
                    <a:cubicBezTo>
                      <a:pt x="6" y="122"/>
                      <a:pt x="0" y="134"/>
                      <a:pt x="0" y="149"/>
                    </a:cubicBezTo>
                    <a:cubicBezTo>
                      <a:pt x="0" y="280"/>
                      <a:pt x="0" y="280"/>
                      <a:pt x="0" y="280"/>
                    </a:cubicBezTo>
                    <a:cubicBezTo>
                      <a:pt x="0" y="285"/>
                      <a:pt x="2" y="289"/>
                      <a:pt x="6" y="293"/>
                    </a:cubicBezTo>
                    <a:cubicBezTo>
                      <a:pt x="9" y="296"/>
                      <a:pt x="14" y="298"/>
                      <a:pt x="19" y="298"/>
                    </a:cubicBezTo>
                    <a:cubicBezTo>
                      <a:pt x="24" y="298"/>
                      <a:pt x="29" y="296"/>
                      <a:pt x="32" y="293"/>
                    </a:cubicBezTo>
                    <a:cubicBezTo>
                      <a:pt x="35" y="289"/>
                      <a:pt x="37" y="285"/>
                      <a:pt x="37" y="280"/>
                    </a:cubicBezTo>
                    <a:cubicBezTo>
                      <a:pt x="37" y="162"/>
                      <a:pt x="37" y="162"/>
                      <a:pt x="37" y="162"/>
                    </a:cubicBezTo>
                    <a:cubicBezTo>
                      <a:pt x="46" y="162"/>
                      <a:pt x="46" y="162"/>
                      <a:pt x="46" y="162"/>
                    </a:cubicBezTo>
                    <a:cubicBezTo>
                      <a:pt x="46" y="487"/>
                      <a:pt x="46" y="487"/>
                      <a:pt x="46" y="487"/>
                    </a:cubicBezTo>
                    <a:cubicBezTo>
                      <a:pt x="46" y="493"/>
                      <a:pt x="49" y="499"/>
                      <a:pt x="54" y="503"/>
                    </a:cubicBezTo>
                    <a:cubicBezTo>
                      <a:pt x="59" y="508"/>
                      <a:pt x="65" y="510"/>
                      <a:pt x="71" y="510"/>
                    </a:cubicBezTo>
                    <a:cubicBezTo>
                      <a:pt x="78" y="510"/>
                      <a:pt x="84" y="508"/>
                      <a:pt x="89" y="503"/>
                    </a:cubicBezTo>
                    <a:cubicBezTo>
                      <a:pt x="94" y="499"/>
                      <a:pt x="96" y="493"/>
                      <a:pt x="96" y="487"/>
                    </a:cubicBezTo>
                    <a:cubicBezTo>
                      <a:pt x="96" y="299"/>
                      <a:pt x="96" y="299"/>
                      <a:pt x="96" y="299"/>
                    </a:cubicBezTo>
                    <a:cubicBezTo>
                      <a:pt x="106" y="299"/>
                      <a:pt x="106" y="299"/>
                      <a:pt x="106" y="299"/>
                    </a:cubicBezTo>
                    <a:cubicBezTo>
                      <a:pt x="106" y="487"/>
                      <a:pt x="106" y="487"/>
                      <a:pt x="106" y="487"/>
                    </a:cubicBezTo>
                    <a:cubicBezTo>
                      <a:pt x="106" y="493"/>
                      <a:pt x="109" y="499"/>
                      <a:pt x="114" y="503"/>
                    </a:cubicBezTo>
                    <a:cubicBezTo>
                      <a:pt x="118" y="508"/>
                      <a:pt x="124" y="510"/>
                      <a:pt x="132" y="510"/>
                    </a:cubicBezTo>
                    <a:cubicBezTo>
                      <a:pt x="138" y="510"/>
                      <a:pt x="143" y="508"/>
                      <a:pt x="148" y="503"/>
                    </a:cubicBezTo>
                    <a:cubicBezTo>
                      <a:pt x="153" y="499"/>
                      <a:pt x="155" y="493"/>
                      <a:pt x="155" y="487"/>
                    </a:cubicBezTo>
                    <a:cubicBezTo>
                      <a:pt x="155" y="162"/>
                      <a:pt x="155" y="162"/>
                      <a:pt x="155" y="162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280"/>
                      <a:pt x="165" y="280"/>
                      <a:pt x="165" y="280"/>
                    </a:cubicBezTo>
                    <a:cubicBezTo>
                      <a:pt x="165" y="285"/>
                      <a:pt x="166" y="289"/>
                      <a:pt x="170" y="293"/>
                    </a:cubicBezTo>
                    <a:cubicBezTo>
                      <a:pt x="173" y="296"/>
                      <a:pt x="178" y="298"/>
                      <a:pt x="183" y="298"/>
                    </a:cubicBezTo>
                    <a:cubicBezTo>
                      <a:pt x="189" y="298"/>
                      <a:pt x="193" y="296"/>
                      <a:pt x="196" y="293"/>
                    </a:cubicBezTo>
                    <a:cubicBezTo>
                      <a:pt x="199" y="289"/>
                      <a:pt x="201" y="285"/>
                      <a:pt x="201" y="280"/>
                    </a:cubicBezTo>
                    <a:cubicBezTo>
                      <a:pt x="201" y="149"/>
                      <a:pt x="201" y="149"/>
                      <a:pt x="201" y="149"/>
                    </a:cubicBezTo>
                    <a:cubicBezTo>
                      <a:pt x="201" y="134"/>
                      <a:pt x="196" y="122"/>
                      <a:pt x="185" y="111"/>
                    </a:cubicBezTo>
                    <a:cubicBezTo>
                      <a:pt x="175" y="100"/>
                      <a:pt x="163" y="95"/>
                      <a:pt x="147" y="95"/>
                    </a:cubicBezTo>
                    <a:lnTo>
                      <a:pt x="54" y="95"/>
                    </a:lnTo>
                    <a:close/>
                    <a:moveTo>
                      <a:pt x="101" y="84"/>
                    </a:moveTo>
                    <a:cubicBezTo>
                      <a:pt x="112" y="84"/>
                      <a:pt x="123" y="80"/>
                      <a:pt x="131" y="72"/>
                    </a:cubicBezTo>
                    <a:cubicBezTo>
                      <a:pt x="139" y="64"/>
                      <a:pt x="143" y="54"/>
                      <a:pt x="143" y="42"/>
                    </a:cubicBezTo>
                    <a:cubicBezTo>
                      <a:pt x="143" y="31"/>
                      <a:pt x="139" y="21"/>
                      <a:pt x="131" y="13"/>
                    </a:cubicBezTo>
                    <a:cubicBezTo>
                      <a:pt x="122" y="4"/>
                      <a:pt x="112" y="0"/>
                      <a:pt x="101" y="0"/>
                    </a:cubicBezTo>
                    <a:cubicBezTo>
                      <a:pt x="89" y="0"/>
                      <a:pt x="79" y="4"/>
                      <a:pt x="71" y="13"/>
                    </a:cubicBezTo>
                    <a:cubicBezTo>
                      <a:pt x="63" y="21"/>
                      <a:pt x="59" y="31"/>
                      <a:pt x="59" y="42"/>
                    </a:cubicBezTo>
                    <a:cubicBezTo>
                      <a:pt x="59" y="54"/>
                      <a:pt x="63" y="64"/>
                      <a:pt x="71" y="72"/>
                    </a:cubicBezTo>
                    <a:cubicBezTo>
                      <a:pt x="79" y="80"/>
                      <a:pt x="89" y="84"/>
                      <a:pt x="101" y="84"/>
                    </a:cubicBez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>
                  <a:latin typeface="+mn-lt"/>
                  <a:sym typeface="Century Gothic"/>
                </a:endParaRPr>
              </a:p>
            </p:txBody>
          </p:sp>
          <p:sp>
            <p:nvSpPr>
              <p:cNvPr id="2042" name="Legend3"/>
              <p:cNvSpPr>
                <a:spLocks noChangeArrowheads="1"/>
              </p:cNvSpPr>
              <p:nvPr/>
            </p:nvSpPr>
            <p:spPr bwMode="auto">
              <a:xfrm>
                <a:off x="8775349" y="787403"/>
                <a:ext cx="376706" cy="24622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ctr" defTabSz="895350">
                  <a:buClr>
                    <a:schemeClr val="tx2"/>
                  </a:buClr>
                </a:pPr>
                <a:r>
                  <a:rPr lang="en-US" sz="800" dirty="0">
                    <a:latin typeface="+mn-lt"/>
                  </a:rPr>
                  <a:t>2 million</a:t>
                </a:r>
                <a:br>
                  <a:rPr lang="en-US" sz="800" dirty="0">
                    <a:latin typeface="+mn-lt"/>
                  </a:rPr>
                </a:br>
                <a:r>
                  <a:rPr lang="en-US" sz="800" dirty="0">
                    <a:latin typeface="+mn-lt"/>
                  </a:rPr>
                  <a:t>people</a:t>
                </a:r>
              </a:p>
            </p:txBody>
          </p:sp>
        </p:grpSp>
        <p:grpSp>
          <p:nvGrpSpPr>
            <p:cNvPr id="2047" name="Group 2046"/>
            <p:cNvGrpSpPr/>
            <p:nvPr/>
          </p:nvGrpSpPr>
          <p:grpSpPr>
            <a:xfrm>
              <a:off x="8603606" y="908741"/>
              <a:ext cx="1619364" cy="472388"/>
              <a:chOff x="4970823" y="904449"/>
              <a:chExt cx="1619364" cy="472388"/>
            </a:xfrm>
          </p:grpSpPr>
          <p:sp>
            <p:nvSpPr>
              <p:cNvPr id="2050" name="RectangleLegend1"/>
              <p:cNvSpPr>
                <a:spLocks noChangeArrowheads="1"/>
              </p:cNvSpPr>
              <p:nvPr/>
            </p:nvSpPr>
            <p:spPr bwMode="auto">
              <a:xfrm>
                <a:off x="4970823" y="911804"/>
                <a:ext cx="127465" cy="123789"/>
              </a:xfrm>
              <a:prstGeom prst="rect">
                <a:avLst/>
              </a:prstGeom>
              <a:solidFill>
                <a:srgbClr val="00A657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2051" name="Legend1"/>
              <p:cNvSpPr>
                <a:spLocks noChangeArrowheads="1"/>
              </p:cNvSpPr>
              <p:nvPr/>
            </p:nvSpPr>
            <p:spPr bwMode="auto">
              <a:xfrm>
                <a:off x="5141371" y="904449"/>
                <a:ext cx="230832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  <a:sym typeface="Century Gothic"/>
                  </a:rPr>
                  <a:t>Asia</a:t>
                </a:r>
              </a:p>
            </p:txBody>
          </p:sp>
          <p:sp>
            <p:nvSpPr>
              <p:cNvPr id="2361" name="RectangleLegend2"/>
              <p:cNvSpPr>
                <a:spLocks noChangeArrowheads="1"/>
              </p:cNvSpPr>
              <p:nvPr/>
            </p:nvSpPr>
            <p:spPr bwMode="auto">
              <a:xfrm>
                <a:off x="4970823" y="1078749"/>
                <a:ext cx="127465" cy="123789"/>
              </a:xfrm>
              <a:prstGeom prst="rect">
                <a:avLst/>
              </a:prstGeom>
              <a:solidFill>
                <a:srgbClr val="BBD745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2362" name="Legend2"/>
              <p:cNvSpPr>
                <a:spLocks noChangeArrowheads="1"/>
              </p:cNvSpPr>
              <p:nvPr/>
            </p:nvSpPr>
            <p:spPr bwMode="auto">
              <a:xfrm>
                <a:off x="5141371" y="1071394"/>
                <a:ext cx="294953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  <a:sym typeface="Century Gothic"/>
                  </a:rPr>
                  <a:t>Africa</a:t>
                </a:r>
              </a:p>
            </p:txBody>
          </p:sp>
          <p:sp>
            <p:nvSpPr>
              <p:cNvPr id="2364" name="RectangleLegend3"/>
              <p:cNvSpPr>
                <a:spLocks noChangeArrowheads="1"/>
              </p:cNvSpPr>
              <p:nvPr/>
            </p:nvSpPr>
            <p:spPr bwMode="auto">
              <a:xfrm>
                <a:off x="4970823" y="1245693"/>
                <a:ext cx="127465" cy="123789"/>
              </a:xfrm>
              <a:prstGeom prst="rect">
                <a:avLst/>
              </a:prstGeom>
              <a:solidFill>
                <a:srgbClr val="00B0F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2365" name="Legend3"/>
              <p:cNvSpPr>
                <a:spLocks noChangeArrowheads="1"/>
              </p:cNvSpPr>
              <p:nvPr/>
            </p:nvSpPr>
            <p:spPr bwMode="auto">
              <a:xfrm>
                <a:off x="5141371" y="1238338"/>
                <a:ext cx="371897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</a:rPr>
                  <a:t>Europe</a:t>
                </a:r>
              </a:p>
            </p:txBody>
          </p:sp>
          <p:sp>
            <p:nvSpPr>
              <p:cNvPr id="2367" name="RectangleLegend1"/>
              <p:cNvSpPr>
                <a:spLocks noChangeArrowheads="1"/>
              </p:cNvSpPr>
              <p:nvPr/>
            </p:nvSpPr>
            <p:spPr bwMode="auto">
              <a:xfrm>
                <a:off x="5653837" y="911804"/>
                <a:ext cx="127465" cy="123789"/>
              </a:xfrm>
              <a:prstGeom prst="rect">
                <a:avLst/>
              </a:prstGeom>
              <a:solidFill>
                <a:srgbClr val="7030A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2692" name="Legend1"/>
              <p:cNvSpPr>
                <a:spLocks noChangeArrowheads="1"/>
              </p:cNvSpPr>
              <p:nvPr/>
            </p:nvSpPr>
            <p:spPr bwMode="auto">
              <a:xfrm>
                <a:off x="5833570" y="904449"/>
                <a:ext cx="737381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  <a:sym typeface="Century Gothic"/>
                  </a:rPr>
                  <a:t>North America</a:t>
                </a:r>
              </a:p>
            </p:txBody>
          </p:sp>
          <p:sp>
            <p:nvSpPr>
              <p:cNvPr id="2708" name="RectangleLegend2"/>
              <p:cNvSpPr>
                <a:spLocks noChangeArrowheads="1"/>
              </p:cNvSpPr>
              <p:nvPr/>
            </p:nvSpPr>
            <p:spPr bwMode="auto">
              <a:xfrm>
                <a:off x="5653837" y="1078749"/>
                <a:ext cx="127465" cy="123789"/>
              </a:xfrm>
              <a:prstGeom prst="rect">
                <a:avLst/>
              </a:prstGeom>
              <a:solidFill>
                <a:srgbClr val="FF660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2709" name="Legend2"/>
              <p:cNvSpPr>
                <a:spLocks noChangeArrowheads="1"/>
              </p:cNvSpPr>
              <p:nvPr/>
            </p:nvSpPr>
            <p:spPr bwMode="auto">
              <a:xfrm>
                <a:off x="5833570" y="1071394"/>
                <a:ext cx="756617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  <a:sym typeface="Century Gothic"/>
                  </a:rPr>
                  <a:t>South America</a:t>
                </a:r>
              </a:p>
            </p:txBody>
          </p:sp>
          <p:sp>
            <p:nvSpPr>
              <p:cNvPr id="3024" name="RectangleLegend3"/>
              <p:cNvSpPr>
                <a:spLocks noChangeArrowheads="1"/>
              </p:cNvSpPr>
              <p:nvPr/>
            </p:nvSpPr>
            <p:spPr bwMode="auto">
              <a:xfrm>
                <a:off x="5653837" y="1245693"/>
                <a:ext cx="127465" cy="123789"/>
              </a:xfrm>
              <a:prstGeom prst="rect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>
                  <a:latin typeface="+mn-lt"/>
                  <a:sym typeface="Century Gothic"/>
                </a:endParaRPr>
              </a:p>
            </p:txBody>
          </p:sp>
          <p:sp>
            <p:nvSpPr>
              <p:cNvPr id="3045" name="Legend3"/>
              <p:cNvSpPr>
                <a:spLocks noChangeArrowheads="1"/>
              </p:cNvSpPr>
              <p:nvPr/>
            </p:nvSpPr>
            <p:spPr bwMode="auto">
              <a:xfrm>
                <a:off x="5833570" y="1238338"/>
                <a:ext cx="429605" cy="138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defTabSz="895350">
                  <a:buClr>
                    <a:schemeClr val="tx2"/>
                  </a:buClr>
                </a:pPr>
                <a:r>
                  <a:rPr lang="en-US" sz="900" dirty="0">
                    <a:latin typeface="+mn-lt"/>
                    <a:sym typeface="Century Gothic"/>
                  </a:rPr>
                  <a:t>Oceania</a:t>
                </a:r>
              </a:p>
            </p:txBody>
          </p:sp>
        </p:grpSp>
        <p:sp>
          <p:nvSpPr>
            <p:cNvPr id="3355" name="Oval 2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7742410" y="712919"/>
              <a:ext cx="330477" cy="123789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lIns="3810" tIns="0" rIns="3810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900" b="1" dirty="0">
                  <a:solidFill>
                    <a:schemeClr val="bg1"/>
                  </a:solidFill>
                </a:rPr>
                <a:t>X%</a:t>
              </a:r>
            </a:p>
          </p:txBody>
        </p:sp>
        <p:sp>
          <p:nvSpPr>
            <p:cNvPr id="3377" name="Rectangle 103"/>
            <p:cNvSpPr txBox="1"/>
            <p:nvPr/>
          </p:nvSpPr>
          <p:spPr>
            <a:xfrm>
              <a:off x="8166578" y="705564"/>
              <a:ext cx="1417055" cy="138499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900" dirty="0"/>
                <a:t>Percent of urban population</a:t>
              </a:r>
            </a:p>
          </p:txBody>
        </p:sp>
      </p:grpSp>
      <p:sp>
        <p:nvSpPr>
          <p:cNvPr id="3688" name="5. Source"/>
          <p:cNvSpPr>
            <a:spLocks noChangeArrowheads="1"/>
          </p:cNvSpPr>
          <p:nvPr/>
        </p:nvSpPr>
        <p:spPr bwMode="gray">
          <a:xfrm>
            <a:off x="1612900" y="6507559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US" sz="800" dirty="0">
                <a:solidFill>
                  <a:schemeClr val="accent6"/>
                </a:solidFill>
                <a:latin typeface="+mn-lt"/>
              </a:rPr>
              <a:t>Source: World Bank, 2014, WHO 2014</a:t>
            </a:r>
          </a:p>
        </p:txBody>
      </p:sp>
      <p:sp>
        <p:nvSpPr>
          <p:cNvPr id="3689" name="4. Footnote"/>
          <p:cNvSpPr txBox="1">
            <a:spLocks noChangeArrowheads="1"/>
          </p:cNvSpPr>
          <p:nvPr/>
        </p:nvSpPr>
        <p:spPr bwMode="gray">
          <a:xfrm>
            <a:off x="1612901" y="6305946"/>
            <a:ext cx="861853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NOTE: Africa is underrepresented since only 8 African cities reported emissions in 2014 (population of 42M) </a:t>
            </a:r>
          </a:p>
        </p:txBody>
      </p:sp>
      <p:sp>
        <p:nvSpPr>
          <p:cNvPr id="3690" name="Rectangle 3689"/>
          <p:cNvSpPr/>
          <p:nvPr/>
        </p:nvSpPr>
        <p:spPr>
          <a:xfrm>
            <a:off x="8795907" y="3484296"/>
            <a:ext cx="2791858" cy="24195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91" name="Rectangle 3690"/>
          <p:cNvSpPr/>
          <p:nvPr/>
        </p:nvSpPr>
        <p:spPr>
          <a:xfrm>
            <a:off x="8795907" y="758925"/>
            <a:ext cx="2791858" cy="24791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3692" name="Picture 3691"/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074" y="3931840"/>
            <a:ext cx="2645524" cy="1771650"/>
          </a:xfrm>
          <a:prstGeom prst="rect">
            <a:avLst/>
          </a:prstGeom>
        </p:spPr>
      </p:pic>
      <p:pic>
        <p:nvPicPr>
          <p:cNvPr id="3693" name="Picture 3692"/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9074" y="1229155"/>
            <a:ext cx="2645524" cy="1771650"/>
          </a:xfrm>
          <a:prstGeom prst="rect">
            <a:avLst/>
          </a:prstGeom>
        </p:spPr>
      </p:pic>
      <p:sp>
        <p:nvSpPr>
          <p:cNvPr id="3694" name="Rectangle 3693"/>
          <p:cNvSpPr/>
          <p:nvPr/>
        </p:nvSpPr>
        <p:spPr>
          <a:xfrm>
            <a:off x="8795907" y="758925"/>
            <a:ext cx="2791858" cy="3637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95" name="Rectangle 14"/>
          <p:cNvSpPr txBox="1">
            <a:spLocks/>
          </p:cNvSpPr>
          <p:nvPr/>
        </p:nvSpPr>
        <p:spPr>
          <a:xfrm>
            <a:off x="8871635" y="817666"/>
            <a:ext cx="264040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Beijing</a:t>
            </a:r>
          </a:p>
        </p:txBody>
      </p:sp>
      <p:sp>
        <p:nvSpPr>
          <p:cNvPr id="3696" name="Rectangle 3695"/>
          <p:cNvSpPr/>
          <p:nvPr/>
        </p:nvSpPr>
        <p:spPr>
          <a:xfrm>
            <a:off x="8795907" y="3484296"/>
            <a:ext cx="2791858" cy="3637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697" name="Rectangle 14"/>
          <p:cNvSpPr txBox="1">
            <a:spLocks/>
          </p:cNvSpPr>
          <p:nvPr/>
        </p:nvSpPr>
        <p:spPr>
          <a:xfrm>
            <a:off x="8871635" y="3543037"/>
            <a:ext cx="264040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lhi</a:t>
            </a:r>
          </a:p>
        </p:txBody>
      </p:sp>
    </p:spTree>
    <p:extLst>
      <p:ext uri="{BB962C8B-B14F-4D97-AF65-F5344CB8AC3E}">
        <p14:creationId xmlns:p14="http://schemas.microsoft.com/office/powerpoint/2010/main" val="392391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5358" y="8414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274" name="think-cell Slide" r:id="rId5" imgW="345" imgH="344" progId="TCLayout.ActiveDocument.1">
                  <p:embed/>
                </p:oleObj>
              </mc:Choice>
              <mc:Fallback>
                <p:oleObj name="think-cell Slide" r:id="rId5" imgW="345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5358" y="8414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3356" name="Picture 12" descr="http://assets.fiercemarkets.net/public/sites/energy/utilityrevenue.jpg"/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70" y="1404500"/>
            <a:ext cx="9352762" cy="482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9987" y="1406854"/>
            <a:ext cx="9364883" cy="4820224"/>
          </a:xfrm>
          <a:prstGeom prst="rect">
            <a:avLst/>
          </a:prstGeom>
          <a:solidFill>
            <a:schemeClr val="bg1">
              <a:alpha val="6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16" y="230189"/>
            <a:ext cx="10524817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At the end of the day, energy productivity and the share of zero-carbon energy will define system change</a:t>
            </a:r>
            <a:endParaRPr lang="en-US" dirty="0"/>
          </a:p>
        </p:txBody>
      </p:sp>
      <p:sp>
        <p:nvSpPr>
          <p:cNvPr id="24" name="Rectangle 11"/>
          <p:cNvSpPr>
            <a:spLocks noChangeArrowheads="1"/>
          </p:cNvSpPr>
          <p:nvPr/>
        </p:nvSpPr>
        <p:spPr bwMode="auto">
          <a:xfrm>
            <a:off x="7150675" y="3403643"/>
            <a:ext cx="2102651" cy="1939246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5212171" y="3403643"/>
            <a:ext cx="2102651" cy="1939246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>
            <a:spLocks/>
          </p:cNvSpPr>
          <p:nvPr/>
        </p:nvSpPr>
        <p:spPr>
          <a:xfrm>
            <a:off x="6411016" y="4529959"/>
            <a:ext cx="1801078" cy="225762"/>
          </a:xfrm>
          <a:prstGeom prst="rect">
            <a:avLst/>
          </a:prstGeom>
          <a:solidFill>
            <a:schemeClr val="bg1">
              <a:alpha val="8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5499381" y="4984344"/>
            <a:ext cx="2083797" cy="225762"/>
          </a:xfrm>
          <a:prstGeom prst="rect">
            <a:avLst/>
          </a:prstGeom>
          <a:solidFill>
            <a:schemeClr val="bg1">
              <a:alpha val="8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21" name="Line 3"/>
          <p:cNvSpPr>
            <a:spLocks noChangeShapeType="1"/>
          </p:cNvSpPr>
          <p:nvPr/>
        </p:nvSpPr>
        <p:spPr bwMode="auto">
          <a:xfrm>
            <a:off x="5202742" y="5783715"/>
            <a:ext cx="4214107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 type="none" w="sm" len="sm"/>
            <a:tailEnd type="none" w="sm" len="sm"/>
          </a:ln>
        </p:spPr>
        <p:txBody>
          <a:bodyPr wrap="none" anchor="t" anchorCtr="0"/>
          <a:lstStyle/>
          <a:p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Line 29"/>
          <p:cNvSpPr>
            <a:spLocks noChangeShapeType="1"/>
          </p:cNvSpPr>
          <p:nvPr/>
        </p:nvSpPr>
        <p:spPr bwMode="auto">
          <a:xfrm rot="5400000" flipH="1">
            <a:off x="2733217" y="3407846"/>
            <a:ext cx="387008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en-US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7150675" y="1472805"/>
            <a:ext cx="2102651" cy="1939246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5212171" y="1472805"/>
            <a:ext cx="2102651" cy="1939246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4" name="Rectangle 286"/>
          <p:cNvSpPr txBox="1">
            <a:spLocks noChangeArrowheads="1"/>
          </p:cNvSpPr>
          <p:nvPr/>
        </p:nvSpPr>
        <p:spPr bwMode="auto">
          <a:xfrm>
            <a:off x="5502624" y="2284843"/>
            <a:ext cx="1346186" cy="241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b="1" dirty="0">
                <a:solidFill>
                  <a:srgbClr val="FFFFFF"/>
                </a:solidFill>
              </a:rPr>
              <a:t>~ 2</a:t>
            </a:r>
            <a:r>
              <a:rPr lang="en-US" sz="1400" b="1" dirty="0">
                <a:solidFill>
                  <a:srgbClr val="FFFFFF"/>
                </a:solidFill>
                <a:sym typeface="Symbol" panose="05050102010706020507" pitchFamily="18" charset="2"/>
              </a:rPr>
              <a:t>C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7" name="Rectangle 286"/>
          <p:cNvSpPr txBox="1">
            <a:spLocks noChangeArrowheads="1"/>
          </p:cNvSpPr>
          <p:nvPr/>
        </p:nvSpPr>
        <p:spPr bwMode="auto">
          <a:xfrm>
            <a:off x="5502624" y="4080515"/>
            <a:ext cx="13461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b="1" dirty="0">
                <a:solidFill>
                  <a:srgbClr val="002960"/>
                </a:solidFill>
                <a:sym typeface="Symbol" panose="05050102010706020507" pitchFamily="18" charset="2"/>
              </a:rPr>
              <a:t>Well above 2C</a:t>
            </a:r>
            <a:endParaRPr lang="en-US" sz="1400" b="1" dirty="0">
              <a:solidFill>
                <a:srgbClr val="002960"/>
              </a:solidFill>
            </a:endParaRPr>
          </a:p>
        </p:txBody>
      </p:sp>
      <p:sp>
        <p:nvSpPr>
          <p:cNvPr id="38" name="Rectangle 286"/>
          <p:cNvSpPr txBox="1">
            <a:spLocks noChangeArrowheads="1"/>
          </p:cNvSpPr>
          <p:nvPr/>
        </p:nvSpPr>
        <p:spPr bwMode="auto">
          <a:xfrm>
            <a:off x="7496181" y="2173109"/>
            <a:ext cx="13461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b="1" dirty="0">
                <a:solidFill>
                  <a:srgbClr val="FFFFFF"/>
                </a:solidFill>
                <a:sym typeface="Symbol" panose="05050102010706020507" pitchFamily="18" charset="2"/>
              </a:rPr>
              <a:t>Well below </a:t>
            </a:r>
            <a:r>
              <a:rPr lang="en-US" sz="1400" b="1" dirty="0">
                <a:solidFill>
                  <a:srgbClr val="FFFFFF"/>
                </a:solidFill>
              </a:rPr>
              <a:t>2</a:t>
            </a:r>
            <a:r>
              <a:rPr lang="en-US" sz="1400" b="1" dirty="0">
                <a:solidFill>
                  <a:srgbClr val="FFFFFF"/>
                </a:solidFill>
                <a:sym typeface="Symbol" panose="05050102010706020507" pitchFamily="18" charset="2"/>
              </a:rPr>
              <a:t>C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39" name="Rectangle 286"/>
          <p:cNvSpPr txBox="1">
            <a:spLocks noChangeArrowheads="1"/>
          </p:cNvSpPr>
          <p:nvPr/>
        </p:nvSpPr>
        <p:spPr bwMode="auto">
          <a:xfrm>
            <a:off x="7496181" y="4175347"/>
            <a:ext cx="1346186" cy="241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b="1" dirty="0">
                <a:solidFill>
                  <a:srgbClr val="FFFFFF"/>
                </a:solidFill>
              </a:rPr>
              <a:t>~ 2</a:t>
            </a:r>
            <a:r>
              <a:rPr lang="en-US" sz="1400" b="1" dirty="0">
                <a:solidFill>
                  <a:srgbClr val="FFFFFF"/>
                </a:solidFill>
                <a:sym typeface="Symbol" panose="05050102010706020507" pitchFamily="18" charset="2"/>
              </a:rPr>
              <a:t>C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0" name="Rectangle 286"/>
          <p:cNvSpPr txBox="1">
            <a:spLocks noChangeArrowheads="1"/>
          </p:cNvSpPr>
          <p:nvPr/>
        </p:nvSpPr>
        <p:spPr bwMode="auto">
          <a:xfrm>
            <a:off x="3381994" y="2976959"/>
            <a:ext cx="1379154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876"/>
              </a:buClr>
            </a:pPr>
            <a:r>
              <a:rPr lang="en-US" sz="1400" b="1" dirty="0">
                <a:solidFill>
                  <a:srgbClr val="002960"/>
                </a:solidFill>
              </a:rPr>
              <a:t>Increase in share of zero-carbon</a:t>
            </a:r>
            <a:r>
              <a:rPr lang="en-US" sz="1400" b="1" baseline="30000" dirty="0">
                <a:solidFill>
                  <a:srgbClr val="002960"/>
                </a:solidFill>
              </a:rPr>
              <a:t>1</a:t>
            </a:r>
            <a:r>
              <a:rPr lang="en-US" sz="1400" b="1" dirty="0">
                <a:solidFill>
                  <a:srgbClr val="002960"/>
                </a:solidFill>
              </a:rPr>
              <a:t> energy </a:t>
            </a:r>
          </a:p>
          <a:p>
            <a:pPr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% points p.a.</a:t>
            </a:r>
          </a:p>
        </p:txBody>
      </p:sp>
      <p:sp>
        <p:nvSpPr>
          <p:cNvPr id="41" name="Rectangle 286"/>
          <p:cNvSpPr txBox="1">
            <a:spLocks noChangeArrowheads="1"/>
          </p:cNvSpPr>
          <p:nvPr/>
        </p:nvSpPr>
        <p:spPr bwMode="auto">
          <a:xfrm>
            <a:off x="4744868" y="2226988"/>
            <a:ext cx="46695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1 or more</a:t>
            </a:r>
          </a:p>
        </p:txBody>
      </p:sp>
      <p:sp>
        <p:nvSpPr>
          <p:cNvPr id="42" name="Rectangle 286"/>
          <p:cNvSpPr txBox="1">
            <a:spLocks noChangeArrowheads="1"/>
          </p:cNvSpPr>
          <p:nvPr/>
        </p:nvSpPr>
        <p:spPr bwMode="auto">
          <a:xfrm>
            <a:off x="4744868" y="4265547"/>
            <a:ext cx="466955" cy="21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&lt; 1</a:t>
            </a:r>
          </a:p>
        </p:txBody>
      </p:sp>
      <p:sp>
        <p:nvSpPr>
          <p:cNvPr id="43" name="Rectangle 286"/>
          <p:cNvSpPr txBox="1">
            <a:spLocks noChangeArrowheads="1"/>
          </p:cNvSpPr>
          <p:nvPr/>
        </p:nvSpPr>
        <p:spPr bwMode="auto">
          <a:xfrm>
            <a:off x="5202742" y="5444412"/>
            <a:ext cx="2102651" cy="21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&lt; 3</a:t>
            </a:r>
          </a:p>
        </p:txBody>
      </p:sp>
      <p:sp>
        <p:nvSpPr>
          <p:cNvPr id="44" name="Rectangle 286"/>
          <p:cNvSpPr txBox="1">
            <a:spLocks noChangeArrowheads="1"/>
          </p:cNvSpPr>
          <p:nvPr/>
        </p:nvSpPr>
        <p:spPr bwMode="auto">
          <a:xfrm>
            <a:off x="7150675" y="5444412"/>
            <a:ext cx="2102651" cy="215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3 or more</a:t>
            </a:r>
          </a:p>
        </p:txBody>
      </p:sp>
      <p:sp>
        <p:nvSpPr>
          <p:cNvPr id="45" name="Rectangle 286"/>
          <p:cNvSpPr txBox="1">
            <a:spLocks noChangeArrowheads="1"/>
          </p:cNvSpPr>
          <p:nvPr/>
        </p:nvSpPr>
        <p:spPr bwMode="auto">
          <a:xfrm>
            <a:off x="5645802" y="5835743"/>
            <a:ext cx="4203888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4876"/>
              </a:buClr>
            </a:pPr>
            <a:r>
              <a:rPr lang="en-US" sz="1400" b="1" dirty="0">
                <a:solidFill>
                  <a:srgbClr val="002960"/>
                </a:solidFill>
              </a:rPr>
              <a:t>Improvement in energy productivity</a:t>
            </a:r>
          </a:p>
          <a:p>
            <a:pPr algn="ctr">
              <a:buClr>
                <a:srgbClr val="004876"/>
              </a:buClr>
            </a:pPr>
            <a:r>
              <a:rPr lang="en-US" sz="1400" dirty="0">
                <a:solidFill>
                  <a:srgbClr val="000000"/>
                </a:solidFill>
              </a:rPr>
              <a:t>% p.a.</a:t>
            </a:r>
          </a:p>
        </p:txBody>
      </p:sp>
      <p:sp>
        <p:nvSpPr>
          <p:cNvPr id="29" name="Diamond 28"/>
          <p:cNvSpPr/>
          <p:nvPr/>
        </p:nvSpPr>
        <p:spPr>
          <a:xfrm>
            <a:off x="6299786" y="4529959"/>
            <a:ext cx="244714" cy="225762"/>
          </a:xfrm>
          <a:prstGeom prst="diamond">
            <a:avLst/>
          </a:prstGeom>
          <a:solidFill>
            <a:srgbClr val="F18A21"/>
          </a:solidFill>
          <a:ln w="9525">
            <a:solidFill>
              <a:srgbClr val="F18A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32" name="Diamond 31"/>
          <p:cNvSpPr>
            <a:spLocks/>
          </p:cNvSpPr>
          <p:nvPr/>
        </p:nvSpPr>
        <p:spPr>
          <a:xfrm>
            <a:off x="5387605" y="4984344"/>
            <a:ext cx="244714" cy="225762"/>
          </a:xfrm>
          <a:prstGeom prst="diamond">
            <a:avLst/>
          </a:prstGeom>
          <a:solidFill>
            <a:schemeClr val="accent5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17378" y="4529077"/>
            <a:ext cx="166563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34288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4876"/>
              </a:buClr>
            </a:pPr>
            <a:r>
              <a:rPr lang="en-US" sz="1400" b="1" dirty="0" err="1">
                <a:solidFill>
                  <a:srgbClr val="F27F00"/>
                </a:solidFill>
              </a:rPr>
              <a:t>INDCs</a:t>
            </a:r>
            <a:r>
              <a:rPr lang="en-US" sz="1400" b="1" dirty="0">
                <a:solidFill>
                  <a:srgbClr val="F27F00"/>
                </a:solidFill>
              </a:rPr>
              <a:t>: </a:t>
            </a:r>
            <a:r>
              <a:rPr lang="en-US" sz="1400" dirty="0">
                <a:solidFill>
                  <a:srgbClr val="F27F00"/>
                </a:solidFill>
              </a:rPr>
              <a:t>2013-2030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603182" y="4989101"/>
            <a:ext cx="196623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34288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4876"/>
              </a:buClr>
            </a:pPr>
            <a:r>
              <a:rPr lang="en-US" sz="1400" b="1" dirty="0">
                <a:solidFill>
                  <a:srgbClr val="002960"/>
                </a:solidFill>
              </a:rPr>
              <a:t>Historical: </a:t>
            </a:r>
            <a:r>
              <a:rPr lang="en-US" sz="1400" dirty="0">
                <a:solidFill>
                  <a:srgbClr val="002960"/>
                </a:solidFill>
              </a:rPr>
              <a:t>1980-2014</a:t>
            </a:r>
          </a:p>
        </p:txBody>
      </p:sp>
      <p:sp>
        <p:nvSpPr>
          <p:cNvPr id="48" name="4. Footnote"/>
          <p:cNvSpPr txBox="1">
            <a:spLocks noChangeArrowheads="1"/>
          </p:cNvSpPr>
          <p:nvPr/>
        </p:nvSpPr>
        <p:spPr bwMode="auto">
          <a:xfrm>
            <a:off x="930234" y="6271233"/>
            <a:ext cx="934204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We include here renewables, nuclear, biomass and fossil fuels if and when their use can be decarbonized through carbon capture and use or storage (CCS/</a:t>
            </a:r>
            <a:r>
              <a:rPr lang="en-US" dirty="0" err="1"/>
              <a:t>CCU</a:t>
            </a:r>
            <a:r>
              <a:rPr lang="en-US" dirty="0"/>
              <a:t>). However, if a large share of the increase is from the latter, a higher share is required since this does not reduce emissions to zero completely</a:t>
            </a:r>
          </a:p>
        </p:txBody>
      </p:sp>
      <p:sp>
        <p:nvSpPr>
          <p:cNvPr id="49" name="5. Source"/>
          <p:cNvSpPr>
            <a:spLocks noChangeArrowheads="1"/>
          </p:cNvSpPr>
          <p:nvPr/>
        </p:nvSpPr>
        <p:spPr bwMode="auto">
          <a:xfrm>
            <a:off x="930232" y="6595955"/>
            <a:ext cx="74388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800" dirty="0">
                <a:solidFill>
                  <a:srgbClr val="808080"/>
                </a:solidFill>
                <a:latin typeface="Arial"/>
              </a:rPr>
              <a:t>SOURCE: </a:t>
            </a:r>
            <a:r>
              <a:rPr lang="en-US" sz="800" dirty="0" err="1">
                <a:solidFill>
                  <a:srgbClr val="808080"/>
                </a:solidFill>
                <a:latin typeface="Arial"/>
              </a:rPr>
              <a:t>Enerdata</a:t>
            </a:r>
            <a:r>
              <a:rPr lang="en-US" sz="800" dirty="0">
                <a:solidFill>
                  <a:srgbClr val="808080"/>
                </a:solidFill>
                <a:latin typeface="Arial"/>
              </a:rPr>
              <a:t> (2015), Historic actuals</a:t>
            </a:r>
          </a:p>
        </p:txBody>
      </p:sp>
      <p:sp>
        <p:nvSpPr>
          <p:cNvPr id="46" name="3. Unit of measure"/>
          <p:cNvSpPr txBox="1">
            <a:spLocks noChangeArrowheads="1"/>
          </p:cNvSpPr>
          <p:nvPr/>
        </p:nvSpPr>
        <p:spPr bwMode="auto">
          <a:xfrm>
            <a:off x="825549" y="1159751"/>
            <a:ext cx="934204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solidFill>
                  <a:srgbClr val="808080"/>
                </a:solidFill>
              </a:rPr>
              <a:t>Global primary energy demand, 2012-2050</a:t>
            </a:r>
          </a:p>
        </p:txBody>
      </p:sp>
    </p:spTree>
    <p:extLst>
      <p:ext uri="{BB962C8B-B14F-4D97-AF65-F5344CB8AC3E}">
        <p14:creationId xmlns:p14="http://schemas.microsoft.com/office/powerpoint/2010/main" val="787410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4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75488" y="230188"/>
            <a:ext cx="10969498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Key take-aways for today</a:t>
            </a:r>
          </a:p>
        </p:txBody>
      </p:sp>
      <p:sp>
        <p:nvSpPr>
          <p:cNvPr id="24" name="Rectangle 23"/>
          <p:cNvSpPr>
            <a:spLocks/>
          </p:cNvSpPr>
          <p:nvPr/>
        </p:nvSpPr>
        <p:spPr>
          <a:xfrm>
            <a:off x="2392985" y="5265676"/>
            <a:ext cx="9036957" cy="1033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585" y="5267120"/>
            <a:ext cx="1831843" cy="1030427"/>
          </a:xfrm>
          <a:prstGeom prst="rect">
            <a:avLst/>
          </a:prstGeom>
        </p:spPr>
      </p:pic>
      <p:sp>
        <p:nvSpPr>
          <p:cNvPr id="22" name="Shape_8"/>
          <p:cNvSpPr txBox="1">
            <a:spLocks/>
          </p:cNvSpPr>
          <p:nvPr/>
        </p:nvSpPr>
        <p:spPr>
          <a:xfrm>
            <a:off x="2971595" y="5413001"/>
            <a:ext cx="821160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2400" dirty="0">
                <a:solidFill>
                  <a:schemeClr val="accent2"/>
                </a:solidFill>
                <a:latin typeface="+mj-lt"/>
              </a:rPr>
              <a:t>Significant opportunities for innovation driven productivity gains ahead—defining the new basis for competition</a:t>
            </a:r>
          </a:p>
        </p:txBody>
      </p:sp>
      <p:sp>
        <p:nvSpPr>
          <p:cNvPr id="42" name="Shape_8"/>
          <p:cNvSpPr txBox="1">
            <a:spLocks/>
          </p:cNvSpPr>
          <p:nvPr/>
        </p:nvSpPr>
        <p:spPr>
          <a:xfrm>
            <a:off x="475488" y="2040179"/>
            <a:ext cx="314189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4400" dirty="0">
                <a:solidFill>
                  <a:schemeClr val="accent2"/>
                </a:solidFill>
                <a:latin typeface="+mj-lt"/>
              </a:rPr>
              <a:t>2</a:t>
            </a:r>
          </a:p>
        </p:txBody>
      </p:sp>
      <p:sp>
        <p:nvSpPr>
          <p:cNvPr id="2" name="Rectangle 1"/>
          <p:cNvSpPr>
            <a:spLocks/>
          </p:cNvSpPr>
          <p:nvPr/>
        </p:nvSpPr>
        <p:spPr>
          <a:xfrm>
            <a:off x="2400297" y="717797"/>
            <a:ext cx="9036957" cy="1033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34" name="Picture 33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897" y="719241"/>
            <a:ext cx="1831843" cy="1030427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Shape_5"/>
          <p:cNvSpPr txBox="1">
            <a:spLocks/>
          </p:cNvSpPr>
          <p:nvPr/>
        </p:nvSpPr>
        <p:spPr>
          <a:xfrm>
            <a:off x="2978907" y="865122"/>
            <a:ext cx="821160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2400" dirty="0">
                <a:solidFill>
                  <a:schemeClr val="accent2"/>
                </a:solidFill>
                <a:latin typeface="+mj-lt"/>
              </a:rPr>
              <a:t>Structural deceleration in energy demand growth as population ages; Non-OECD countries drive all the growth</a:t>
            </a:r>
          </a:p>
        </p:txBody>
      </p:sp>
      <p:sp>
        <p:nvSpPr>
          <p:cNvPr id="43" name="Shape_5"/>
          <p:cNvSpPr txBox="1">
            <a:spLocks/>
          </p:cNvSpPr>
          <p:nvPr/>
        </p:nvSpPr>
        <p:spPr>
          <a:xfrm>
            <a:off x="475488" y="895900"/>
            <a:ext cx="314189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4400" dirty="0">
                <a:solidFill>
                  <a:schemeClr val="accent2"/>
                </a:solidFill>
                <a:latin typeface="+mj-lt"/>
              </a:rPr>
              <a:t>1</a:t>
            </a:r>
          </a:p>
        </p:txBody>
      </p:sp>
      <p:sp>
        <p:nvSpPr>
          <p:cNvPr id="17" name="Rectangle 16"/>
          <p:cNvSpPr>
            <a:spLocks/>
          </p:cNvSpPr>
          <p:nvPr/>
        </p:nvSpPr>
        <p:spPr>
          <a:xfrm>
            <a:off x="2400297" y="3001284"/>
            <a:ext cx="9036957" cy="1033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897" y="3002728"/>
            <a:ext cx="1831843" cy="1030427"/>
          </a:xfrm>
          <a:prstGeom prst="rect">
            <a:avLst/>
          </a:prstGeom>
        </p:spPr>
      </p:pic>
      <p:sp>
        <p:nvSpPr>
          <p:cNvPr id="19" name="Shape_5"/>
          <p:cNvSpPr txBox="1">
            <a:spLocks/>
          </p:cNvSpPr>
          <p:nvPr/>
        </p:nvSpPr>
        <p:spPr>
          <a:xfrm>
            <a:off x="2978907" y="3148609"/>
            <a:ext cx="821160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2400" dirty="0">
                <a:solidFill>
                  <a:schemeClr val="accent2"/>
                </a:solidFill>
                <a:latin typeface="+mj-lt"/>
              </a:rPr>
              <a:t>Peak oil demand may be in sight with energy efficiency, sharing, and electrification even as supply growth accelerates</a:t>
            </a:r>
          </a:p>
        </p:txBody>
      </p:sp>
      <p:sp>
        <p:nvSpPr>
          <p:cNvPr id="44" name="Shape_5"/>
          <p:cNvSpPr txBox="1">
            <a:spLocks/>
          </p:cNvSpPr>
          <p:nvPr/>
        </p:nvSpPr>
        <p:spPr>
          <a:xfrm>
            <a:off x="475488" y="4328737"/>
            <a:ext cx="314189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4400" dirty="0">
                <a:solidFill>
                  <a:schemeClr val="accent2"/>
                </a:solidFill>
                <a:latin typeface="+mj-lt"/>
              </a:rPr>
              <a:t>4</a:t>
            </a: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400297" y="4145564"/>
            <a:ext cx="9036957" cy="1033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26" name="Picture 25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897" y="4147008"/>
            <a:ext cx="1831843" cy="1030427"/>
          </a:xfrm>
          <a:prstGeom prst="rect">
            <a:avLst/>
          </a:prstGeom>
        </p:spPr>
      </p:pic>
      <p:sp>
        <p:nvSpPr>
          <p:cNvPr id="30" name="Shape_5"/>
          <p:cNvSpPr txBox="1">
            <a:spLocks/>
          </p:cNvSpPr>
          <p:nvPr/>
        </p:nvSpPr>
        <p:spPr>
          <a:xfrm>
            <a:off x="2978907" y="4108223"/>
            <a:ext cx="8211604" cy="11079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2400" dirty="0">
                <a:solidFill>
                  <a:schemeClr val="accent2"/>
                </a:solidFill>
                <a:latin typeface="+mj-lt"/>
              </a:rPr>
              <a:t>Despite renewables growth and transportation electrification, the world is not on pace to achieve emission reduction targets</a:t>
            </a:r>
          </a:p>
        </p:txBody>
      </p:sp>
      <p:sp>
        <p:nvSpPr>
          <p:cNvPr id="45" name="Shape_5"/>
          <p:cNvSpPr txBox="1">
            <a:spLocks/>
          </p:cNvSpPr>
          <p:nvPr/>
        </p:nvSpPr>
        <p:spPr>
          <a:xfrm>
            <a:off x="475488" y="5473017"/>
            <a:ext cx="314189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4400" dirty="0">
                <a:solidFill>
                  <a:schemeClr val="accent2"/>
                </a:solidFill>
                <a:latin typeface="+mj-lt"/>
              </a:rPr>
              <a:t>5</a:t>
            </a: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2400297" y="1857005"/>
            <a:ext cx="9036957" cy="10333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pic>
        <p:nvPicPr>
          <p:cNvPr id="31" name="Picture 30"/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897" y="1858449"/>
            <a:ext cx="1831843" cy="1030427"/>
          </a:xfrm>
          <a:prstGeom prst="rect">
            <a:avLst/>
          </a:prstGeom>
        </p:spPr>
      </p:pic>
      <p:sp>
        <p:nvSpPr>
          <p:cNvPr id="39" name="Shape_8"/>
          <p:cNvSpPr txBox="1">
            <a:spLocks/>
          </p:cNvSpPr>
          <p:nvPr/>
        </p:nvSpPr>
        <p:spPr>
          <a:xfrm>
            <a:off x="2978907" y="2004330"/>
            <a:ext cx="821160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2400" dirty="0">
                <a:solidFill>
                  <a:schemeClr val="accent2"/>
                </a:solidFill>
                <a:latin typeface="+mj-lt"/>
              </a:rPr>
              <a:t>Electrification continues to expand as renewables, storage, and demand side measures start to outcompete coal and gas</a:t>
            </a:r>
          </a:p>
        </p:txBody>
      </p:sp>
      <p:sp>
        <p:nvSpPr>
          <p:cNvPr id="46" name="Shape_8"/>
          <p:cNvSpPr txBox="1">
            <a:spLocks/>
          </p:cNvSpPr>
          <p:nvPr/>
        </p:nvSpPr>
        <p:spPr>
          <a:xfrm>
            <a:off x="475488" y="3184458"/>
            <a:ext cx="314189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809" baseline="0">
                <a:latin typeface="Georgia" panose="02040502050405020303" pitchFamily="18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4400" dirty="0">
                <a:solidFill>
                  <a:schemeClr val="accent2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67292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457" name="Title 1"/>
          <p:cNvSpPr>
            <a:spLocks noGrp="1"/>
          </p:cNvSpPr>
          <p:nvPr>
            <p:ph type="title"/>
          </p:nvPr>
        </p:nvSpPr>
        <p:spPr>
          <a:xfrm>
            <a:off x="159737" y="230319"/>
            <a:ext cx="11490648" cy="400110"/>
          </a:xfrm>
        </p:spPr>
        <p:txBody>
          <a:bodyPr/>
          <a:lstStyle/>
          <a:p>
            <a:pPr eaLnBrk="1" hangingPunct="1"/>
            <a:r>
              <a:rPr lang="en-US" dirty="0">
                <a:cs typeface="Arial" charset="0"/>
              </a:rPr>
              <a:t>Get the full story</a:t>
            </a:r>
          </a:p>
        </p:txBody>
      </p:sp>
      <p:pic>
        <p:nvPicPr>
          <p:cNvPr id="1171458" name="Picture 2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92133" y="983361"/>
            <a:ext cx="3047438" cy="5186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 txBox="1"/>
          <p:nvPr/>
        </p:nvSpPr>
        <p:spPr>
          <a:xfrm>
            <a:off x="5506758" y="905576"/>
            <a:ext cx="4211232" cy="5341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0817" tIns="40817" rIns="40817" bIns="40817" numCol="1" anchor="ctr" anchorCtr="0" compatLnSpc="1">
            <a:prstTxWarp prst="textNoShape">
              <a:avLst/>
            </a:prstTxWarp>
            <a:spAutoFit/>
          </a:bodyPr>
          <a:lstStyle>
            <a:lvl1pPr marL="311150" lvl="0" indent="-311150" defTabSz="814388" eaLnBrk="0" hangingPunct="0">
              <a:buClr>
                <a:schemeClr val="tx2"/>
              </a:buClr>
              <a:defRPr sz="15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176213" indent="-174625" defTabSz="814388" eaLnBrk="0" hangingPunct="0">
              <a:buClr>
                <a:schemeClr val="bg1"/>
              </a:buClr>
              <a:buSzPct val="125000"/>
              <a:buFont typeface="Arial" charset="0"/>
              <a:buChar char="▪"/>
              <a:defRPr sz="15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415925" indent="-238125" defTabSz="814388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5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558800" indent="-141288" defTabSz="814388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5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679450" indent="-117475" defTabSz="814388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5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  <a:lvl6pPr marL="1096135" indent="-118580" defTabSz="81559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+mn-cs"/>
              </a:defRPr>
            </a:lvl6pPr>
            <a:lvl7pPr marL="1512608" indent="-118580" defTabSz="81559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+mn-cs"/>
              </a:defRPr>
            </a:lvl7pPr>
            <a:lvl8pPr marL="1929081" indent="-118580" defTabSz="81559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+mn-cs"/>
              </a:defRPr>
            </a:lvl8pPr>
            <a:lvl9pPr marL="2345554" indent="-118580" defTabSz="81559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  <a:cs typeface="+mn-cs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sz="4312" dirty="0">
                <a:solidFill>
                  <a:schemeClr val="tx2"/>
                </a:solidFill>
                <a:latin typeface="Georgia"/>
                <a:cs typeface="+mn-cs"/>
              </a:rPr>
              <a:t>Thank you!</a:t>
            </a:r>
          </a:p>
          <a:p>
            <a:pPr marL="0" indent="0">
              <a:spcBef>
                <a:spcPct val="100000"/>
              </a:spcBef>
            </a:pPr>
            <a:r>
              <a:rPr lang="en-US" sz="2875" dirty="0">
                <a:solidFill>
                  <a:schemeClr val="tx2"/>
                </a:solidFill>
                <a:latin typeface="Georgia"/>
                <a:cs typeface="+mn-cs"/>
              </a:rPr>
              <a:t>Available on Amazon.com</a:t>
            </a:r>
          </a:p>
          <a:p>
            <a:pPr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Restructuring markets globally: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Transportation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Utilities and Water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Oil and Gas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Mining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Buildings and Construction</a:t>
            </a:r>
          </a:p>
          <a:p>
            <a:pPr lvl="1">
              <a:spcBef>
                <a:spcPct val="5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Food and Agriculture</a:t>
            </a:r>
          </a:p>
          <a:p>
            <a:pPr>
              <a:spcBef>
                <a:spcPct val="100000"/>
              </a:spcBef>
            </a:pPr>
            <a:r>
              <a:rPr lang="en-US" sz="1699" dirty="0">
                <a:solidFill>
                  <a:schemeClr val="tx2"/>
                </a:solidFill>
                <a:latin typeface="Georgia"/>
                <a:cs typeface="+mn-cs"/>
              </a:rPr>
              <a:t>Follow us on Twitter #</a:t>
            </a:r>
            <a:r>
              <a:rPr lang="en-US" sz="1699" dirty="0" err="1">
                <a:solidFill>
                  <a:schemeClr val="tx2"/>
                </a:solidFill>
                <a:latin typeface="Georgia"/>
                <a:cs typeface="+mn-cs"/>
              </a:rPr>
              <a:t>Resourcerev</a:t>
            </a:r>
            <a:endParaRPr lang="en-US" sz="1699" dirty="0">
              <a:solidFill>
                <a:schemeClr val="tx2"/>
              </a:solidFill>
              <a:latin typeface="Georgi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68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0" name="think-cell Slide" r:id="rId34" imgW="353" imgH="353" progId="TCLayout.ActiveDocument.1">
                  <p:embed/>
                </p:oleObj>
              </mc:Choice>
              <mc:Fallback>
                <p:oleObj name="think-cell Slide" r:id="rId34" imgW="353" imgH="353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  <a:sym typeface="+mn-lt"/>
            </a:endParaRPr>
          </a:p>
        </p:txBody>
      </p:sp>
      <p:pic>
        <p:nvPicPr>
          <p:cNvPr id="7" name="Picture 6"/>
          <p:cNvPicPr>
            <a:picLocks/>
          </p:cNvPicPr>
          <p:nvPr/>
        </p:nvPicPr>
        <p:blipFill rotWithShape="1"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8" b="7808"/>
          <a:stretch/>
        </p:blipFill>
        <p:spPr>
          <a:xfrm flipH="1">
            <a:off x="-1" y="0"/>
            <a:ext cx="11949113" cy="6721475"/>
          </a:xfrm>
          <a:prstGeom prst="rect">
            <a:avLst/>
          </a:prstGeom>
        </p:spPr>
      </p:pic>
      <p:sp>
        <p:nvSpPr>
          <p:cNvPr id="65" name="Rectangle 64"/>
          <p:cNvSpPr>
            <a:spLocks/>
          </p:cNvSpPr>
          <p:nvPr/>
        </p:nvSpPr>
        <p:spPr>
          <a:xfrm>
            <a:off x="0" y="0"/>
            <a:ext cx="11949113" cy="6721475"/>
          </a:xfrm>
          <a:prstGeom prst="rect">
            <a:avLst/>
          </a:prstGeom>
          <a:solidFill>
            <a:schemeClr val="bg1">
              <a:alpha val="8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1" name="Oval 1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8384588" y="4810125"/>
            <a:ext cx="504632" cy="253994"/>
          </a:xfrm>
          <a:prstGeom prst="ellipse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234243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0.3</a:t>
            </a:r>
          </a:p>
        </p:txBody>
      </p:sp>
      <p:sp>
        <p:nvSpPr>
          <p:cNvPr id="89" name="Rectangle 40"/>
          <p:cNvSpPr>
            <a:spLocks noChangeArrowheads="1"/>
          </p:cNvSpPr>
          <p:nvPr/>
        </p:nvSpPr>
        <p:spPr bwMode="gray">
          <a:xfrm>
            <a:off x="9316114" y="4829175"/>
            <a:ext cx="940406" cy="184666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GB" sz="120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IEA</a:t>
            </a:r>
            <a:r>
              <a:rPr lang="en-GB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450</a:t>
            </a:r>
          </a:p>
        </p:txBody>
      </p:sp>
      <p:sp>
        <p:nvSpPr>
          <p:cNvPr id="92" name="Rectangle 40"/>
          <p:cNvSpPr>
            <a:spLocks noChangeArrowheads="1"/>
          </p:cNvSpPr>
          <p:nvPr/>
        </p:nvSpPr>
        <p:spPr bwMode="gray">
          <a:xfrm>
            <a:off x="9316114" y="5422900"/>
            <a:ext cx="940406" cy="369332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GB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Greenpeace Revolution</a:t>
            </a:r>
          </a:p>
        </p:txBody>
      </p:sp>
      <p:sp>
        <p:nvSpPr>
          <p:cNvPr id="93" name="Oval 1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8384588" y="5497513"/>
            <a:ext cx="504632" cy="253994"/>
          </a:xfrm>
          <a:prstGeom prst="ellipse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234243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-0.1</a:t>
            </a:r>
          </a:p>
        </p:txBody>
      </p:sp>
      <p:sp>
        <p:nvSpPr>
          <p:cNvPr id="104" name="Rectangle 40"/>
          <p:cNvSpPr>
            <a:spLocks noChangeArrowheads="1"/>
          </p:cNvSpPr>
          <p:nvPr/>
        </p:nvSpPr>
        <p:spPr bwMode="gray">
          <a:xfrm>
            <a:off x="10804019" y="5030788"/>
            <a:ext cx="1015814" cy="553998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GB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Climate protection scenarios</a:t>
            </a:r>
          </a:p>
        </p:txBody>
      </p:sp>
      <p:sp>
        <p:nvSpPr>
          <p:cNvPr id="81" name="Freeform 80"/>
          <p:cNvSpPr/>
          <p:nvPr/>
        </p:nvSpPr>
        <p:spPr>
          <a:xfrm>
            <a:off x="7962901" y="1514475"/>
            <a:ext cx="805746" cy="723837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7962901" y="1878013"/>
            <a:ext cx="805746" cy="817491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97" name="Freeform 96"/>
          <p:cNvSpPr/>
          <p:nvPr/>
        </p:nvSpPr>
        <p:spPr>
          <a:xfrm>
            <a:off x="7962901" y="2570163"/>
            <a:ext cx="805746" cy="784319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graphicFrame>
        <p:nvGraphicFramePr>
          <p:cNvPr id="90" name="Object 89"/>
          <p:cNvGraphicFramePr>
            <a:graphicFrameLocks/>
          </p:cNvGraphicFramePr>
          <p:nvPr>
            <p:custDataLst>
              <p:tags r:id="rId6"/>
            </p:custDataLst>
            <p:extLst/>
          </p:nvPr>
        </p:nvGraphicFramePr>
        <p:xfrm>
          <a:off x="647699" y="1409700"/>
          <a:ext cx="7414156" cy="4732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71" name="Chart" r:id="rId37" imgW="7416931" imgH="4730706" progId="MSGraph.Chart.8">
                  <p:embed followColorScheme="full"/>
                </p:oleObj>
              </mc:Choice>
              <mc:Fallback>
                <p:oleObj name="Chart" r:id="rId37" imgW="7416931" imgH="4730706" progId="MSGraph.Chart.8">
                  <p:embed followColorScheme="full"/>
                  <p:pic>
                    <p:nvPicPr>
                      <p:cNvPr id="90" name="Object 89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647699" y="1409700"/>
                        <a:ext cx="7414156" cy="4732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9738" y="2187575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09A2036E-AAFD-4BE2-A1D8-92A5B1BEE7D4}" type="datetime'''''''''''''''''''1''''''''''''''''''''''''''''45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45</a:t>
            </a:fld>
            <a:endParaRPr lang="en-US" sz="1200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9738" y="3322638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F83B1ED3-3BD7-48CF-95F4-EA69DC60808F}" type="datetime'13''''''''''''''''''''''0'''''''''''">
              <a:rPr lang="en-US" altLang="en-US" sz="1200">
                <a:solidFill>
                  <a:schemeClr val="accent6"/>
                </a:solidFill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3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9738" y="3703638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0B3FD490-85E5-408C-935C-5CE3FD11408C}" type="datetime'''''''''''''''''''''''''''''''''''1''''''''2''5''''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25</a:t>
            </a:fld>
            <a:endParaRPr lang="en-US" sz="120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39738" y="4076700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0077F44D-04C0-4FF8-865E-F9991E7BDAE0}" type="datetime'''''''''''''''1''''2''''''''''''''''''''''''''''''''''''0'''">
              <a:rPr lang="en-US" altLang="en-US" sz="1200">
                <a:solidFill>
                  <a:schemeClr val="accent6"/>
                </a:solidFill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2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3" name="Text Placeholder 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39738" y="5586413"/>
            <a:ext cx="252413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4FFE0D9D-499D-41B7-B663-ACC0FA2F518C}" type="datetime'''''1''''''''''''''00'''''''''''''''''''''''''''''''''''''''''">
              <a:rPr lang="en-US" altLang="en-US" sz="1200">
                <a:solidFill>
                  <a:schemeClr val="accent6"/>
                </a:solidFill>
                <a:latin typeface="Arial"/>
                <a:sym typeface="+mn-lt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00</a:t>
            </a:fld>
            <a:endParaRPr lang="en-GB" sz="1200" dirty="0">
              <a:solidFill>
                <a:schemeClr val="accent6"/>
              </a:solidFill>
              <a:latin typeface="Arial"/>
              <a:sym typeface="+mn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39738" y="5213350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63CCD90D-9A64-44E6-9531-3F9812291338}" type="datetime'''''1''''''''''0''''''''''''''''''''''''5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05</a:t>
            </a:fld>
            <a:endParaRPr lang="en-US" sz="1200" dirty="0"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39738" y="2568575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9506A96F-FFCA-4F1A-97DC-31C4FB16460F}" type="datetime'''''''''''''''14''''''''''''''''''0'''''''">
              <a:rPr lang="en-US" altLang="en-US" sz="1200">
                <a:solidFill>
                  <a:schemeClr val="accent6"/>
                </a:solidFill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4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50850" y="4457700"/>
            <a:ext cx="2413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2394C564-F7EC-41A2-A963-28FAA99AB372}" type="datetime'''''''''''''''''''''''1''''''''''''''''''''''1''''''5''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15</a:t>
            </a:fld>
            <a:endParaRPr lang="en-US" sz="120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39738" y="2941638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C7AB65B3-8503-4F9D-BEF8-1CCCD5342D76}" type="datetime'''''''''''''1''''''''''''''''35''''''''''''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35</a:t>
            </a:fld>
            <a:endParaRPr lang="en-US" sz="1200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50850" y="4832350"/>
            <a:ext cx="24130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790F27D0-ED2B-4BBD-A48A-3A8828E0DBAA}" type="datetime'''''''''''1''1''''''''0'">
              <a:rPr lang="en-US" altLang="en-US" sz="1200">
                <a:solidFill>
                  <a:schemeClr val="accent6"/>
                </a:solidFill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1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3875" y="5967413"/>
            <a:ext cx="16827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5634757C-384C-489D-B904-6BF39F952CD0}" type="datetime'9''''5''''''''''''''''''''''''''''''''''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95</a:t>
            </a:fld>
            <a:endParaRPr lang="en-US" sz="12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9738" y="1433513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0B91456B-63D3-43AE-89F2-12B85A7FA807}" type="datetime'''''''''''''''1''''''''''''''''''5''''''''''''''''''5'''''''">
              <a:rPr lang="en-US" altLang="en-US" sz="1200"/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155</a:t>
            </a:fld>
            <a:endParaRPr lang="en-US" sz="1200" dirty="0"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39738" y="1814513"/>
            <a:ext cx="252413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9E9DCFB8-AC52-4E7E-9BB5-01642F986B20}" type="datetime'1''''''''''5''''''''''''0'''''''''''''''''''">
              <a:rPr lang="en-US" altLang="en-US" sz="1200">
                <a:solidFill>
                  <a:schemeClr val="accent6"/>
                </a:solidFill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5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994025" y="6138863"/>
            <a:ext cx="33655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0DC324D8-3DDF-4533-A0A3-DB22CAFF02BD}" type="datetime'''''''''''''''''''''''2''0''''''''20'">
              <a:rPr lang="en-US" altLang="en-US" sz="1200">
                <a:solidFill>
                  <a:schemeClr val="accent6"/>
                </a:solidFill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02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794625" y="6138863"/>
            <a:ext cx="33655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BBC16EFD-B8C0-4AAF-BD21-CBEF640DDB60}" type="datetime'20''''''''''''''''''''''''''''''''''''''''''''''40'''''''''''">
              <a:rPr lang="en-US" altLang="en-US" sz="1200">
                <a:solidFill>
                  <a:schemeClr val="accent6"/>
                </a:solidFill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04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394325" y="6138863"/>
            <a:ext cx="33655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B1D2B50C-A991-4BB4-A111-CE7C72208722}" type="datetime'2''''''''''''''''''''''''''''03''0'''''''''">
              <a:rPr lang="en-US" altLang="en-US" sz="1200">
                <a:solidFill>
                  <a:schemeClr val="accent6"/>
                </a:solidFill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03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93725" y="6138863"/>
            <a:ext cx="336550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34E6D39E-9E87-42C2-BCAE-B1BFAAC9E788}" type="datetime'''''2''''''''''''''''''''0''''1''''''''''0'''''">
              <a:rPr lang="en-US" altLang="en-US" sz="1200">
                <a:solidFill>
                  <a:schemeClr val="accent6"/>
                </a:solidFill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01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28" name="3. Unit of measure"/>
          <p:cNvSpPr txBox="1">
            <a:spLocks noChangeArrowheads="1"/>
          </p:cNvSpPr>
          <p:nvPr/>
        </p:nvSpPr>
        <p:spPr bwMode="gray">
          <a:xfrm>
            <a:off x="475489" y="675333"/>
            <a:ext cx="109696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2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Index, 2014 = 100</a:t>
            </a:r>
          </a:p>
        </p:txBody>
      </p:sp>
      <p:sp>
        <p:nvSpPr>
          <p:cNvPr id="132" name="Freeform 131"/>
          <p:cNvSpPr/>
          <p:nvPr/>
        </p:nvSpPr>
        <p:spPr>
          <a:xfrm>
            <a:off x="7962901" y="2914650"/>
            <a:ext cx="805746" cy="605167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133" name="Freeform 132"/>
          <p:cNvSpPr/>
          <p:nvPr/>
        </p:nvSpPr>
        <p:spPr>
          <a:xfrm>
            <a:off x="7962901" y="2219325"/>
            <a:ext cx="805746" cy="880026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0" name="Rectangle 40"/>
          <p:cNvSpPr>
            <a:spLocks noChangeArrowheads="1"/>
          </p:cNvSpPr>
          <p:nvPr/>
        </p:nvSpPr>
        <p:spPr bwMode="gray">
          <a:xfrm>
            <a:off x="9316113" y="281463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ExxonMobil 2015</a:t>
            </a:r>
          </a:p>
        </p:txBody>
      </p:sp>
      <p:sp>
        <p:nvSpPr>
          <p:cNvPr id="51" name="Oval 16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8384588" y="2794000"/>
            <a:ext cx="504632" cy="253994"/>
          </a:xfrm>
          <a:prstGeom prst="ellips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234243"/>
              </a:buClr>
            </a:pPr>
            <a:r>
              <a:rPr lang="en-US" sz="1200" dirty="0">
                <a:solidFill>
                  <a:srgbClr val="000000"/>
                </a:solidFill>
                <a:cs typeface="Arial" panose="020B0604020202020204" pitchFamily="34" charset="0"/>
              </a:rPr>
              <a:t>1.0</a:t>
            </a:r>
          </a:p>
        </p:txBody>
      </p:sp>
      <p:sp>
        <p:nvSpPr>
          <p:cNvPr id="46" name="Rectangle 40"/>
          <p:cNvSpPr>
            <a:spLocks noChangeArrowheads="1"/>
          </p:cNvSpPr>
          <p:nvPr/>
        </p:nvSpPr>
        <p:spPr bwMode="gray">
          <a:xfrm>
            <a:off x="9316113" y="246538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US" sz="120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IEA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NPS 2016</a:t>
            </a:r>
          </a:p>
        </p:txBody>
      </p:sp>
      <p:sp>
        <p:nvSpPr>
          <p:cNvPr id="49" name="Oval 16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8384588" y="2441575"/>
            <a:ext cx="504632" cy="25399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rgbClr val="234243"/>
              </a:buClr>
              <a:defRPr sz="11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1.0</a:t>
            </a:r>
          </a:p>
        </p:txBody>
      </p:sp>
      <p:sp>
        <p:nvSpPr>
          <p:cNvPr id="57" name="Rectangle 40"/>
          <p:cNvSpPr>
            <a:spLocks noChangeArrowheads="1"/>
          </p:cNvSpPr>
          <p:nvPr/>
        </p:nvSpPr>
        <p:spPr bwMode="gray">
          <a:xfrm>
            <a:off x="9316113" y="211613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US" sz="1200" dirty="0" err="1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IEA</a:t>
            </a:r>
            <a:r>
              <a:rPr lang="en-US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 NPS 2014</a:t>
            </a:r>
          </a:p>
        </p:txBody>
      </p:sp>
      <p:sp>
        <p:nvSpPr>
          <p:cNvPr id="58" name="Oval 16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8384588" y="2087563"/>
            <a:ext cx="504632" cy="253994"/>
          </a:xfrm>
          <a:prstGeom prst="ellips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rgbClr val="234243"/>
              </a:buClr>
              <a:defRPr sz="1100" baseline="0">
                <a:solidFill>
                  <a:srgbClr val="000000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/>
              <a:t>1.1</a:t>
            </a:r>
          </a:p>
        </p:txBody>
      </p:sp>
      <p:sp>
        <p:nvSpPr>
          <p:cNvPr id="54" name="Oval 16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8384588" y="1735138"/>
            <a:ext cx="504632" cy="25399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rgbClr val="234243"/>
              </a:buClr>
              <a:defRPr sz="1400" baseline="0">
                <a:solidFill>
                  <a:srgbClr val="FFFFFF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chemeClr val="bg1"/>
                </a:solidFill>
              </a:rPr>
              <a:t>1.2</a:t>
            </a:r>
          </a:p>
        </p:txBody>
      </p:sp>
      <p:sp>
        <p:nvSpPr>
          <p:cNvPr id="53" name="Rectangle 40"/>
          <p:cNvSpPr>
            <a:spLocks noChangeArrowheads="1"/>
          </p:cNvSpPr>
          <p:nvPr/>
        </p:nvSpPr>
        <p:spPr bwMode="gray">
          <a:xfrm>
            <a:off x="9316113" y="176688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GB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P 2017</a:t>
            </a:r>
          </a:p>
        </p:txBody>
      </p:sp>
      <p:sp>
        <p:nvSpPr>
          <p:cNvPr id="73" name="Rectangle 40"/>
          <p:cNvSpPr>
            <a:spLocks noChangeArrowheads="1"/>
          </p:cNvSpPr>
          <p:nvPr/>
        </p:nvSpPr>
        <p:spPr bwMode="gray">
          <a:xfrm>
            <a:off x="9316113" y="141763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GB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BP 2016</a:t>
            </a:r>
          </a:p>
        </p:txBody>
      </p:sp>
      <p:sp>
        <p:nvSpPr>
          <p:cNvPr id="114" name="Oval 16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8384588" y="1382713"/>
            <a:ext cx="504632" cy="253994"/>
          </a:xfrm>
          <a:prstGeom prst="ellipse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rgbClr val="234243"/>
              </a:buClr>
              <a:defRPr sz="1100" baseline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Arial"/>
              </a:rPr>
              <a:t>1.4</a:t>
            </a:r>
          </a:p>
        </p:txBody>
      </p:sp>
      <p:sp>
        <p:nvSpPr>
          <p:cNvPr id="11" name="Down Arrow 10"/>
          <p:cNvSpPr>
            <a:spLocks/>
          </p:cNvSpPr>
          <p:nvPr/>
        </p:nvSpPr>
        <p:spPr>
          <a:xfrm>
            <a:off x="8959878" y="1400175"/>
            <a:ext cx="246322" cy="569324"/>
          </a:xfrm>
          <a:prstGeom prst="down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281607" y="947602"/>
            <a:ext cx="674670" cy="387798"/>
            <a:chOff x="8214551" y="947602"/>
            <a:chExt cx="674670" cy="387798"/>
          </a:xfrm>
        </p:grpSpPr>
        <p:sp>
          <p:nvSpPr>
            <p:cNvPr id="66" name="AutoShape 250"/>
            <p:cNvSpPr>
              <a:spLocks noChangeArrowheads="1"/>
            </p:cNvSpPr>
            <p:nvPr/>
          </p:nvSpPr>
          <p:spPr bwMode="auto">
            <a:xfrm>
              <a:off x="8214551" y="947602"/>
              <a:ext cx="674669" cy="3877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en-US" sz="1300" b="1" dirty="0" err="1">
                  <a:solidFill>
                    <a:srgbClr val="00ADEF"/>
                  </a:solidFill>
                  <a:latin typeface="Arial"/>
                </a:rPr>
                <a:t>CAGR</a:t>
              </a:r>
              <a:r>
                <a:rPr lang="en-US" sz="1400" b="1" dirty="0">
                  <a:solidFill>
                    <a:srgbClr val="00ADEF"/>
                  </a:solidFill>
                  <a:latin typeface="Arial"/>
                </a:rPr>
                <a:t> </a:t>
              </a:r>
            </a:p>
            <a:p>
              <a:r>
                <a:rPr lang="en-US" sz="1000" dirty="0">
                  <a:solidFill>
                    <a:srgbClr val="939D98"/>
                  </a:solidFill>
                  <a:latin typeface="Arial"/>
                </a:rPr>
                <a:t>2014-2040</a:t>
              </a:r>
            </a:p>
          </p:txBody>
        </p:sp>
        <p:cxnSp>
          <p:nvCxnSpPr>
            <p:cNvPr id="95" name="Straight Connector 94"/>
            <p:cNvCxnSpPr>
              <a:cxnSpLocks/>
            </p:cNvCxnSpPr>
            <p:nvPr/>
          </p:nvCxnSpPr>
          <p:spPr>
            <a:xfrm>
              <a:off x="8214552" y="1335400"/>
              <a:ext cx="674669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0" name="Down Arrow 129"/>
          <p:cNvSpPr>
            <a:spLocks/>
          </p:cNvSpPr>
          <p:nvPr/>
        </p:nvSpPr>
        <p:spPr>
          <a:xfrm>
            <a:off x="8959878" y="2119313"/>
            <a:ext cx="246322" cy="569324"/>
          </a:xfrm>
          <a:prstGeom prst="down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31" name="Down Arrow 130"/>
          <p:cNvSpPr>
            <a:spLocks/>
          </p:cNvSpPr>
          <p:nvPr/>
        </p:nvSpPr>
        <p:spPr>
          <a:xfrm>
            <a:off x="8959878" y="2824163"/>
            <a:ext cx="246322" cy="569324"/>
          </a:xfrm>
          <a:prstGeom prst="down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98" name="Freeform 97"/>
          <p:cNvSpPr/>
          <p:nvPr/>
        </p:nvSpPr>
        <p:spPr>
          <a:xfrm>
            <a:off x="7962901" y="3286125"/>
            <a:ext cx="805746" cy="399491"/>
          </a:xfrm>
          <a:custGeom>
            <a:avLst/>
            <a:gdLst>
              <a:gd name="connsiteX0" fmla="*/ 0 w 1581150"/>
              <a:gd name="connsiteY0" fmla="*/ 628650 h 628650"/>
              <a:gd name="connsiteX1" fmla="*/ 361950 w 1581150"/>
              <a:gd name="connsiteY1" fmla="*/ 0 h 628650"/>
              <a:gd name="connsiteX2" fmla="*/ 1581150 w 1581150"/>
              <a:gd name="connsiteY2" fmla="*/ 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1150" h="628650">
                <a:moveTo>
                  <a:pt x="0" y="628650"/>
                </a:moveTo>
                <a:lnTo>
                  <a:pt x="361950" y="0"/>
                </a:lnTo>
                <a:lnTo>
                  <a:pt x="1581150" y="0"/>
                </a:lnTo>
              </a:path>
            </a:pathLst>
          </a:custGeom>
          <a:ln w="12700">
            <a:solidFill>
              <a:schemeClr val="bg1">
                <a:lumMod val="75000"/>
                <a:alpha val="49804"/>
              </a:schemeClr>
            </a:solidFill>
            <a:prstDash val="solid"/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5" name="Rectangle 40"/>
          <p:cNvSpPr>
            <a:spLocks noChangeArrowheads="1"/>
          </p:cNvSpPr>
          <p:nvPr/>
        </p:nvSpPr>
        <p:spPr bwMode="gray">
          <a:xfrm>
            <a:off x="9316113" y="3163888"/>
            <a:ext cx="2089589" cy="18466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234243"/>
              </a:buClr>
            </a:pPr>
            <a:r>
              <a:rPr lang="en-US" sz="1200" dirty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ExxonMobil 2017</a:t>
            </a:r>
          </a:p>
        </p:txBody>
      </p:sp>
      <p:sp>
        <p:nvSpPr>
          <p:cNvPr id="48" name="Oval 1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8384588" y="3146425"/>
            <a:ext cx="504632" cy="253994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234243"/>
              </a:buClr>
            </a:pPr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0.9</a:t>
            </a:r>
          </a:p>
        </p:txBody>
      </p:sp>
      <p:sp>
        <p:nvSpPr>
          <p:cNvPr id="127" name="Freeform 26"/>
          <p:cNvSpPr>
            <a:spLocks/>
          </p:cNvSpPr>
          <p:nvPr/>
        </p:nvSpPr>
        <p:spPr bwMode="auto">
          <a:xfrm>
            <a:off x="1493277" y="3808413"/>
            <a:ext cx="6500813" cy="1844675"/>
          </a:xfrm>
          <a:custGeom>
            <a:avLst/>
            <a:gdLst>
              <a:gd name="T0" fmla="*/ 0 w 682"/>
              <a:gd name="T1" fmla="*/ 194 h 194"/>
              <a:gd name="T2" fmla="*/ 157 w 682"/>
              <a:gd name="T3" fmla="*/ 127 h 194"/>
              <a:gd name="T4" fmla="*/ 420 w 682"/>
              <a:gd name="T5" fmla="*/ 55 h 194"/>
              <a:gd name="T6" fmla="*/ 682 w 682"/>
              <a:gd name="T7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82" h="194">
                <a:moveTo>
                  <a:pt x="0" y="194"/>
                </a:moveTo>
                <a:lnTo>
                  <a:pt x="157" y="127"/>
                </a:lnTo>
                <a:lnTo>
                  <a:pt x="420" y="55"/>
                </a:lnTo>
                <a:lnTo>
                  <a:pt x="682" y="0"/>
                </a:lnTo>
              </a:path>
            </a:pathLst>
          </a:custGeom>
          <a:noFill/>
          <a:ln w="76200" cap="rnd">
            <a:solidFill>
              <a:srgbClr val="00ADE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4" name="Rectangle 40"/>
          <p:cNvSpPr>
            <a:spLocks noChangeArrowheads="1"/>
          </p:cNvSpPr>
          <p:nvPr/>
        </p:nvSpPr>
        <p:spPr bwMode="gray">
          <a:xfrm>
            <a:off x="9337943" y="3479800"/>
            <a:ext cx="2312707" cy="430887"/>
          </a:xfrm>
          <a:prstGeom prst="rect">
            <a:avLst/>
          </a:prstGeom>
          <a:noFill/>
          <a:ln w="19050">
            <a:noFill/>
            <a:prstDash val="dash"/>
            <a:miter lim="800000"/>
            <a:headEnd/>
            <a:tailEnd/>
          </a:ln>
          <a:effectLst/>
          <a:extLst/>
        </p:spPr>
        <p:txBody>
          <a:bodyPr wrap="square" lIns="0" tIns="0" rIns="0" bIns="0" anchor="ctr" anchorCtr="0">
            <a:spAutoFit/>
          </a:bodyPr>
          <a:lstStyle/>
          <a:p>
            <a:pPr defTabSz="671513">
              <a:buClr>
                <a:srgbClr val="234243"/>
              </a:buClr>
            </a:pPr>
            <a:r>
              <a:rPr lang="en-GB" sz="1400" b="1" dirty="0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  <a:t>McKinsey </a:t>
            </a:r>
            <a:r>
              <a:rPr lang="en-GB" sz="1400" b="1" dirty="0" err="1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  <a:t>GEP</a:t>
            </a:r>
            <a:r>
              <a:rPr lang="en-GB" sz="1400" b="1" dirty="0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  <a:t> </a:t>
            </a:r>
            <a:br>
              <a:rPr lang="en-GB" sz="1400" b="1" dirty="0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</a:br>
            <a:r>
              <a:rPr lang="en-GB" sz="1400" b="1" dirty="0" err="1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  <a:t>BaU</a:t>
            </a:r>
            <a:r>
              <a:rPr lang="en-GB" sz="1400" b="1" dirty="0">
                <a:solidFill>
                  <a:srgbClr val="00ADEF"/>
                </a:solidFill>
                <a:latin typeface="Arial"/>
                <a:cs typeface="Arial" panose="020B0604020202020204" pitchFamily="34" charset="0"/>
              </a:rPr>
              <a:t> 2016/17</a:t>
            </a:r>
          </a:p>
        </p:txBody>
      </p:sp>
      <p:sp>
        <p:nvSpPr>
          <p:cNvPr id="47" name="Oval 16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8192242" y="3476625"/>
            <a:ext cx="889324" cy="493516"/>
          </a:xfrm>
          <a:prstGeom prst="ellipse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857" tIns="0" rIns="285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234243"/>
              </a:buClr>
            </a:pPr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0.8</a:t>
            </a:r>
          </a:p>
        </p:txBody>
      </p:sp>
      <p:sp>
        <p:nvSpPr>
          <p:cNvPr id="59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GB" sz="800" dirty="0">
                <a:solidFill>
                  <a:srgbClr val="000000"/>
                </a:solidFill>
                <a:latin typeface="Arial"/>
              </a:rPr>
              <a:t>SOURCE: McKinsey Energy Insights’ Global Energy Perspective, July 2017</a:t>
            </a:r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Title 83"/>
          <p:cNvSpPr>
            <a:spLocks noGrp="1"/>
          </p:cNvSpPr>
          <p:nvPr>
            <p:ph type="title"/>
          </p:nvPr>
        </p:nvSpPr>
        <p:spPr>
          <a:xfrm>
            <a:off x="475488" y="230189"/>
            <a:ext cx="10969498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/>
              <a:t>Primary energy demand</a:t>
            </a:r>
          </a:p>
        </p:txBody>
      </p:sp>
      <p:sp>
        <p:nvSpPr>
          <p:cNvPr id="62" name="Bracket 4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10424319" y="4829175"/>
            <a:ext cx="180989" cy="963025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585"/>
              <a:gd name="connsiteY0" fmla="*/ 306815 h 306815"/>
              <a:gd name="connsiteX1" fmla="*/ 585 w 585"/>
              <a:gd name="connsiteY1" fmla="*/ 0 h 306815"/>
              <a:gd name="connsiteX0" fmla="*/ 0 w 585"/>
              <a:gd name="connsiteY0" fmla="*/ 306815 h 306815"/>
              <a:gd name="connsiteX1" fmla="*/ 585 w 585"/>
              <a:gd name="connsiteY1" fmla="*/ 0 h 306815"/>
              <a:gd name="connsiteX2" fmla="*/ 175 w 585"/>
              <a:gd name="connsiteY2" fmla="*/ 306815 h 306815"/>
              <a:gd name="connsiteX0" fmla="*/ 0 w 585"/>
              <a:gd name="connsiteY0" fmla="*/ 306815 h 1145015"/>
              <a:gd name="connsiteX1" fmla="*/ 585 w 585"/>
              <a:gd name="connsiteY1" fmla="*/ 0 h 1145015"/>
              <a:gd name="connsiteX2" fmla="*/ 175 w 585"/>
              <a:gd name="connsiteY2" fmla="*/ 306815 h 1145015"/>
              <a:gd name="connsiteX3" fmla="*/ 175 w 585"/>
              <a:gd name="connsiteY3" fmla="*/ 1145015 h 1145015"/>
              <a:gd name="connsiteX0" fmla="*/ 0 w 585"/>
              <a:gd name="connsiteY0" fmla="*/ 306815 h 1221215"/>
              <a:gd name="connsiteX1" fmla="*/ 585 w 585"/>
              <a:gd name="connsiteY1" fmla="*/ 0 h 1221215"/>
              <a:gd name="connsiteX2" fmla="*/ 175 w 585"/>
              <a:gd name="connsiteY2" fmla="*/ 306815 h 1221215"/>
              <a:gd name="connsiteX3" fmla="*/ 175 w 585"/>
              <a:gd name="connsiteY3" fmla="*/ 1145015 h 1221215"/>
              <a:gd name="connsiteX4" fmla="*/ 309 w 585"/>
              <a:gd name="connsiteY4" fmla="*/ 1221215 h 1221215"/>
              <a:gd name="connsiteX0" fmla="*/ 0 w 585"/>
              <a:gd name="connsiteY0" fmla="*/ 306815 h 1297415"/>
              <a:gd name="connsiteX1" fmla="*/ 585 w 585"/>
              <a:gd name="connsiteY1" fmla="*/ 0 h 1297415"/>
              <a:gd name="connsiteX2" fmla="*/ 175 w 585"/>
              <a:gd name="connsiteY2" fmla="*/ 306815 h 1297415"/>
              <a:gd name="connsiteX3" fmla="*/ 175 w 585"/>
              <a:gd name="connsiteY3" fmla="*/ 1145015 h 1297415"/>
              <a:gd name="connsiteX4" fmla="*/ 309 w 585"/>
              <a:gd name="connsiteY4" fmla="*/ 1221215 h 1297415"/>
              <a:gd name="connsiteX5" fmla="*/ 175 w 585"/>
              <a:gd name="connsiteY5" fmla="*/ 1297415 h 1297415"/>
              <a:gd name="connsiteX0" fmla="*/ 0 w 585"/>
              <a:gd name="connsiteY0" fmla="*/ 306815 h 2135615"/>
              <a:gd name="connsiteX1" fmla="*/ 585 w 585"/>
              <a:gd name="connsiteY1" fmla="*/ 0 h 2135615"/>
              <a:gd name="connsiteX2" fmla="*/ 175 w 585"/>
              <a:gd name="connsiteY2" fmla="*/ 306815 h 2135615"/>
              <a:gd name="connsiteX3" fmla="*/ 175 w 585"/>
              <a:gd name="connsiteY3" fmla="*/ 1145015 h 2135615"/>
              <a:gd name="connsiteX4" fmla="*/ 309 w 585"/>
              <a:gd name="connsiteY4" fmla="*/ 1221215 h 2135615"/>
              <a:gd name="connsiteX5" fmla="*/ 175 w 585"/>
              <a:gd name="connsiteY5" fmla="*/ 1297415 h 2135615"/>
              <a:gd name="connsiteX6" fmla="*/ 175 w 585"/>
              <a:gd name="connsiteY6" fmla="*/ 2135615 h 2135615"/>
              <a:gd name="connsiteX0" fmla="*/ 0 w 585"/>
              <a:gd name="connsiteY0" fmla="*/ 306815 h 2135615"/>
              <a:gd name="connsiteX1" fmla="*/ 585 w 585"/>
              <a:gd name="connsiteY1" fmla="*/ 0 h 2135615"/>
              <a:gd name="connsiteX2" fmla="*/ 175 w 585"/>
              <a:gd name="connsiteY2" fmla="*/ 306815 h 2135615"/>
              <a:gd name="connsiteX3" fmla="*/ 175 w 585"/>
              <a:gd name="connsiteY3" fmla="*/ 1145015 h 2135615"/>
              <a:gd name="connsiteX4" fmla="*/ 309 w 585"/>
              <a:gd name="connsiteY4" fmla="*/ 1221215 h 2135615"/>
              <a:gd name="connsiteX5" fmla="*/ 175 w 585"/>
              <a:gd name="connsiteY5" fmla="*/ 1297415 h 2135615"/>
              <a:gd name="connsiteX6" fmla="*/ 175 w 585"/>
              <a:gd name="connsiteY6" fmla="*/ 2135615 h 2135615"/>
              <a:gd name="connsiteX7" fmla="*/ 0 w 585"/>
              <a:gd name="connsiteY7" fmla="*/ 2135615 h 2135615"/>
              <a:gd name="connsiteX0" fmla="*/ 0 w 585"/>
              <a:gd name="connsiteY0" fmla="*/ 306815 h 2135615"/>
              <a:gd name="connsiteX1" fmla="*/ 585 w 585"/>
              <a:gd name="connsiteY1" fmla="*/ 0 h 2135615"/>
              <a:gd name="connsiteX2" fmla="*/ 175 w 585"/>
              <a:gd name="connsiteY2" fmla="*/ 306815 h 2135615"/>
              <a:gd name="connsiteX3" fmla="*/ 175 w 585"/>
              <a:gd name="connsiteY3" fmla="*/ 1145015 h 2135615"/>
              <a:gd name="connsiteX4" fmla="*/ 309 w 585"/>
              <a:gd name="connsiteY4" fmla="*/ 1221215 h 2135615"/>
              <a:gd name="connsiteX5" fmla="*/ 175 w 585"/>
              <a:gd name="connsiteY5" fmla="*/ 1297415 h 2135615"/>
              <a:gd name="connsiteX6" fmla="*/ 175 w 585"/>
              <a:gd name="connsiteY6" fmla="*/ 2135615 h 2135615"/>
              <a:gd name="connsiteX7" fmla="*/ 0 w 585"/>
              <a:gd name="connsiteY7" fmla="*/ 2135615 h 2135615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0 h 1828800"/>
              <a:gd name="connsiteX3" fmla="*/ 175 w 309"/>
              <a:gd name="connsiteY3" fmla="*/ 838200 h 1828800"/>
              <a:gd name="connsiteX4" fmla="*/ 309 w 309"/>
              <a:gd name="connsiteY4" fmla="*/ 914400 h 1828800"/>
              <a:gd name="connsiteX5" fmla="*/ 175 w 309"/>
              <a:gd name="connsiteY5" fmla="*/ 990600 h 1828800"/>
              <a:gd name="connsiteX6" fmla="*/ 175 w 309"/>
              <a:gd name="connsiteY6" fmla="*/ 1828800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175 w 309"/>
              <a:gd name="connsiteY3" fmla="*/ 838200 h 1828800"/>
              <a:gd name="connsiteX4" fmla="*/ 309 w 309"/>
              <a:gd name="connsiteY4" fmla="*/ 914400 h 1828800"/>
              <a:gd name="connsiteX5" fmla="*/ 175 w 309"/>
              <a:gd name="connsiteY5" fmla="*/ 990600 h 1828800"/>
              <a:gd name="connsiteX6" fmla="*/ 175 w 309"/>
              <a:gd name="connsiteY6" fmla="*/ 1828800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309 w 309"/>
              <a:gd name="connsiteY3" fmla="*/ 914399 h 1828800"/>
              <a:gd name="connsiteX4" fmla="*/ 309 w 309"/>
              <a:gd name="connsiteY4" fmla="*/ 914400 h 1828800"/>
              <a:gd name="connsiteX5" fmla="*/ 175 w 309"/>
              <a:gd name="connsiteY5" fmla="*/ 990600 h 1828800"/>
              <a:gd name="connsiteX6" fmla="*/ 175 w 309"/>
              <a:gd name="connsiteY6" fmla="*/ 1828800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309 w 309"/>
              <a:gd name="connsiteY3" fmla="*/ 914399 h 1828800"/>
              <a:gd name="connsiteX4" fmla="*/ 175 w 309"/>
              <a:gd name="connsiteY4" fmla="*/ 990599 h 1828800"/>
              <a:gd name="connsiteX5" fmla="*/ 175 w 309"/>
              <a:gd name="connsiteY5" fmla="*/ 990600 h 1828800"/>
              <a:gd name="connsiteX6" fmla="*/ 175 w 309"/>
              <a:gd name="connsiteY6" fmla="*/ 1828800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309 w 309"/>
              <a:gd name="connsiteY3" fmla="*/ 914399 h 1828800"/>
              <a:gd name="connsiteX4" fmla="*/ 175 w 309"/>
              <a:gd name="connsiteY4" fmla="*/ 990599 h 1828800"/>
              <a:gd name="connsiteX5" fmla="*/ 175 w 309"/>
              <a:gd name="connsiteY5" fmla="*/ 1828799 h 1828800"/>
              <a:gd name="connsiteX6" fmla="*/ 175 w 309"/>
              <a:gd name="connsiteY6" fmla="*/ 1828800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309 w 309"/>
              <a:gd name="connsiteY3" fmla="*/ 914399 h 1828800"/>
              <a:gd name="connsiteX4" fmla="*/ 175 w 309"/>
              <a:gd name="connsiteY4" fmla="*/ 990599 h 1828800"/>
              <a:gd name="connsiteX5" fmla="*/ 175 w 309"/>
              <a:gd name="connsiteY5" fmla="*/ 1828799 h 1828800"/>
              <a:gd name="connsiteX6" fmla="*/ 0 w 309"/>
              <a:gd name="connsiteY6" fmla="*/ 1828799 h 1828800"/>
              <a:gd name="connsiteX7" fmla="*/ 0 w 309"/>
              <a:gd name="connsiteY7" fmla="*/ 1828800 h 1828800"/>
              <a:gd name="connsiteX0" fmla="*/ 0 w 309"/>
              <a:gd name="connsiteY0" fmla="*/ 0 h 1828800"/>
              <a:gd name="connsiteX1" fmla="*/ 175 w 309"/>
              <a:gd name="connsiteY1" fmla="*/ 0 h 1828800"/>
              <a:gd name="connsiteX2" fmla="*/ 175 w 309"/>
              <a:gd name="connsiteY2" fmla="*/ 838199 h 1828800"/>
              <a:gd name="connsiteX3" fmla="*/ 309 w 309"/>
              <a:gd name="connsiteY3" fmla="*/ 914399 h 1828800"/>
              <a:gd name="connsiteX4" fmla="*/ 175 w 309"/>
              <a:gd name="connsiteY4" fmla="*/ 990599 h 1828800"/>
              <a:gd name="connsiteX5" fmla="*/ 175 w 309"/>
              <a:gd name="connsiteY5" fmla="*/ 1828799 h 1828800"/>
              <a:gd name="connsiteX6" fmla="*/ 0 w 309"/>
              <a:gd name="connsiteY6" fmla="*/ 1828799 h 1828800"/>
              <a:gd name="connsiteX7" fmla="*/ 0 w 309"/>
              <a:gd name="connsiteY7" fmla="*/ 1828800 h 1828800"/>
              <a:gd name="connsiteX0" fmla="*/ 0 w 467"/>
              <a:gd name="connsiteY0" fmla="*/ 0 h 1828800"/>
              <a:gd name="connsiteX1" fmla="*/ 467 w 467"/>
              <a:gd name="connsiteY1" fmla="*/ 0 h 1828800"/>
              <a:gd name="connsiteX2" fmla="*/ 175 w 467"/>
              <a:gd name="connsiteY2" fmla="*/ 838199 h 1828800"/>
              <a:gd name="connsiteX3" fmla="*/ 309 w 467"/>
              <a:gd name="connsiteY3" fmla="*/ 914399 h 1828800"/>
              <a:gd name="connsiteX4" fmla="*/ 175 w 467"/>
              <a:gd name="connsiteY4" fmla="*/ 990599 h 1828800"/>
              <a:gd name="connsiteX5" fmla="*/ 175 w 467"/>
              <a:gd name="connsiteY5" fmla="*/ 1828799 h 1828800"/>
              <a:gd name="connsiteX6" fmla="*/ 0 w 467"/>
              <a:gd name="connsiteY6" fmla="*/ 1828799 h 1828800"/>
              <a:gd name="connsiteX7" fmla="*/ 0 w 467"/>
              <a:gd name="connsiteY7" fmla="*/ 1828800 h 1828800"/>
              <a:gd name="connsiteX0" fmla="*/ 0 w 467"/>
              <a:gd name="connsiteY0" fmla="*/ 0 h 1828800"/>
              <a:gd name="connsiteX1" fmla="*/ 467 w 467"/>
              <a:gd name="connsiteY1" fmla="*/ 0 h 1828800"/>
              <a:gd name="connsiteX2" fmla="*/ 467 w 467"/>
              <a:gd name="connsiteY2" fmla="*/ 717886 h 1828800"/>
              <a:gd name="connsiteX3" fmla="*/ 309 w 467"/>
              <a:gd name="connsiteY3" fmla="*/ 914399 h 1828800"/>
              <a:gd name="connsiteX4" fmla="*/ 175 w 467"/>
              <a:gd name="connsiteY4" fmla="*/ 990599 h 1828800"/>
              <a:gd name="connsiteX5" fmla="*/ 175 w 467"/>
              <a:gd name="connsiteY5" fmla="*/ 1828799 h 1828800"/>
              <a:gd name="connsiteX6" fmla="*/ 0 w 467"/>
              <a:gd name="connsiteY6" fmla="*/ 1828799 h 1828800"/>
              <a:gd name="connsiteX7" fmla="*/ 0 w 467"/>
              <a:gd name="connsiteY7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175 w 826"/>
              <a:gd name="connsiteY4" fmla="*/ 990599 h 1828800"/>
              <a:gd name="connsiteX5" fmla="*/ 175 w 826"/>
              <a:gd name="connsiteY5" fmla="*/ 1828799 h 1828800"/>
              <a:gd name="connsiteX6" fmla="*/ 0 w 826"/>
              <a:gd name="connsiteY6" fmla="*/ 1828799 h 1828800"/>
              <a:gd name="connsiteX7" fmla="*/ 0 w 826"/>
              <a:gd name="connsiteY7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467 w 826"/>
              <a:gd name="connsiteY4" fmla="*/ 1110914 h 1828800"/>
              <a:gd name="connsiteX5" fmla="*/ 175 w 826"/>
              <a:gd name="connsiteY5" fmla="*/ 1828799 h 1828800"/>
              <a:gd name="connsiteX6" fmla="*/ 0 w 826"/>
              <a:gd name="connsiteY6" fmla="*/ 1828799 h 1828800"/>
              <a:gd name="connsiteX7" fmla="*/ 0 w 826"/>
              <a:gd name="connsiteY7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467 w 826"/>
              <a:gd name="connsiteY4" fmla="*/ 1110914 h 1828800"/>
              <a:gd name="connsiteX5" fmla="*/ 467 w 826"/>
              <a:gd name="connsiteY5" fmla="*/ 1828800 h 1828800"/>
              <a:gd name="connsiteX6" fmla="*/ 0 w 826"/>
              <a:gd name="connsiteY6" fmla="*/ 1828799 h 1828800"/>
              <a:gd name="connsiteX7" fmla="*/ 0 w 826"/>
              <a:gd name="connsiteY7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467 w 826"/>
              <a:gd name="connsiteY4" fmla="*/ 1110914 h 1828800"/>
              <a:gd name="connsiteX5" fmla="*/ 467 w 826"/>
              <a:gd name="connsiteY5" fmla="*/ 1828800 h 1828800"/>
              <a:gd name="connsiteX6" fmla="*/ 0 w 826"/>
              <a:gd name="connsiteY6" fmla="*/ 1828800 h 1828800"/>
              <a:gd name="connsiteX7" fmla="*/ 0 w 826"/>
              <a:gd name="connsiteY7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467 w 826"/>
              <a:gd name="connsiteY4" fmla="*/ 1110914 h 1828800"/>
              <a:gd name="connsiteX5" fmla="*/ 467 w 826"/>
              <a:gd name="connsiteY5" fmla="*/ 1828800 h 1828800"/>
              <a:gd name="connsiteX6" fmla="*/ 0 w 826"/>
              <a:gd name="connsiteY6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467 w 826"/>
              <a:gd name="connsiteY4" fmla="*/ 1110914 h 1828800"/>
              <a:gd name="connsiteX5" fmla="*/ 0 w 826"/>
              <a:gd name="connsiteY5" fmla="*/ 1828800 h 1828800"/>
              <a:gd name="connsiteX0" fmla="*/ 0 w 826"/>
              <a:gd name="connsiteY0" fmla="*/ 0 h 1828800"/>
              <a:gd name="connsiteX1" fmla="*/ 467 w 826"/>
              <a:gd name="connsiteY1" fmla="*/ 0 h 1828800"/>
              <a:gd name="connsiteX2" fmla="*/ 467 w 826"/>
              <a:gd name="connsiteY2" fmla="*/ 717886 h 1828800"/>
              <a:gd name="connsiteX3" fmla="*/ 826 w 826"/>
              <a:gd name="connsiteY3" fmla="*/ 914399 h 1828800"/>
              <a:gd name="connsiteX4" fmla="*/ 0 w 826"/>
              <a:gd name="connsiteY4" fmla="*/ 1828800 h 1828800"/>
              <a:gd name="connsiteX0" fmla="*/ 0 w 467"/>
              <a:gd name="connsiteY0" fmla="*/ 0 h 1828800"/>
              <a:gd name="connsiteX1" fmla="*/ 467 w 467"/>
              <a:gd name="connsiteY1" fmla="*/ 0 h 1828800"/>
              <a:gd name="connsiteX2" fmla="*/ 467 w 467"/>
              <a:gd name="connsiteY2" fmla="*/ 717886 h 1828800"/>
              <a:gd name="connsiteX3" fmla="*/ 0 w 467"/>
              <a:gd name="connsiteY3" fmla="*/ 1828800 h 1828800"/>
              <a:gd name="connsiteX0" fmla="*/ 0 w 467"/>
              <a:gd name="connsiteY0" fmla="*/ 0 h 1828800"/>
              <a:gd name="connsiteX1" fmla="*/ 467 w 467"/>
              <a:gd name="connsiteY1" fmla="*/ 0 h 1828800"/>
              <a:gd name="connsiteX2" fmla="*/ 0 w 467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3618044"/>
              <a:gd name="connsiteY0" fmla="*/ 4506436 h 4506436"/>
              <a:gd name="connsiteX1" fmla="*/ 3618044 w 3618044"/>
              <a:gd name="connsiteY1" fmla="*/ 0 h 4506436"/>
              <a:gd name="connsiteX0" fmla="*/ 0 w 3618044"/>
              <a:gd name="connsiteY0" fmla="*/ 4506436 h 4506436"/>
              <a:gd name="connsiteX1" fmla="*/ 3618044 w 3618044"/>
              <a:gd name="connsiteY1" fmla="*/ 0 h 4506436"/>
              <a:gd name="connsiteX2" fmla="*/ 103188 w 3618044"/>
              <a:gd name="connsiteY2" fmla="*/ 4506434 h 4506436"/>
              <a:gd name="connsiteX0" fmla="*/ 0 w 3618044"/>
              <a:gd name="connsiteY0" fmla="*/ 4506436 h 5974132"/>
              <a:gd name="connsiteX1" fmla="*/ 3618044 w 3618044"/>
              <a:gd name="connsiteY1" fmla="*/ 0 h 5974132"/>
              <a:gd name="connsiteX2" fmla="*/ 103188 w 3618044"/>
              <a:gd name="connsiteY2" fmla="*/ 4506434 h 5974132"/>
              <a:gd name="connsiteX3" fmla="*/ 103188 w 3618044"/>
              <a:gd name="connsiteY3" fmla="*/ 5974132 h 5974132"/>
              <a:gd name="connsiteX0" fmla="*/ 0 w 3618044"/>
              <a:gd name="connsiteY0" fmla="*/ 4506436 h 6107557"/>
              <a:gd name="connsiteX1" fmla="*/ 3618044 w 3618044"/>
              <a:gd name="connsiteY1" fmla="*/ 0 h 6107557"/>
              <a:gd name="connsiteX2" fmla="*/ 103188 w 3618044"/>
              <a:gd name="connsiteY2" fmla="*/ 4506434 h 6107557"/>
              <a:gd name="connsiteX3" fmla="*/ 103188 w 3618044"/>
              <a:gd name="connsiteY3" fmla="*/ 5974132 h 6107557"/>
              <a:gd name="connsiteX4" fmla="*/ 182563 w 3618044"/>
              <a:gd name="connsiteY4" fmla="*/ 6107557 h 6107557"/>
              <a:gd name="connsiteX0" fmla="*/ 0 w 3618044"/>
              <a:gd name="connsiteY0" fmla="*/ 4506436 h 6240984"/>
              <a:gd name="connsiteX1" fmla="*/ 3618044 w 3618044"/>
              <a:gd name="connsiteY1" fmla="*/ 0 h 6240984"/>
              <a:gd name="connsiteX2" fmla="*/ 103188 w 3618044"/>
              <a:gd name="connsiteY2" fmla="*/ 4506434 h 6240984"/>
              <a:gd name="connsiteX3" fmla="*/ 103188 w 3618044"/>
              <a:gd name="connsiteY3" fmla="*/ 5974132 h 6240984"/>
              <a:gd name="connsiteX4" fmla="*/ 182563 w 3618044"/>
              <a:gd name="connsiteY4" fmla="*/ 6107557 h 6240984"/>
              <a:gd name="connsiteX5" fmla="*/ 103188 w 3618044"/>
              <a:gd name="connsiteY5" fmla="*/ 6240984 h 6240984"/>
              <a:gd name="connsiteX0" fmla="*/ 0 w 3618044"/>
              <a:gd name="connsiteY0" fmla="*/ 4506436 h 7708682"/>
              <a:gd name="connsiteX1" fmla="*/ 3618044 w 3618044"/>
              <a:gd name="connsiteY1" fmla="*/ 0 h 7708682"/>
              <a:gd name="connsiteX2" fmla="*/ 103188 w 3618044"/>
              <a:gd name="connsiteY2" fmla="*/ 4506434 h 7708682"/>
              <a:gd name="connsiteX3" fmla="*/ 103188 w 3618044"/>
              <a:gd name="connsiteY3" fmla="*/ 5974132 h 7708682"/>
              <a:gd name="connsiteX4" fmla="*/ 182563 w 3618044"/>
              <a:gd name="connsiteY4" fmla="*/ 6107557 h 7708682"/>
              <a:gd name="connsiteX5" fmla="*/ 103188 w 3618044"/>
              <a:gd name="connsiteY5" fmla="*/ 6240984 h 7708682"/>
              <a:gd name="connsiteX6" fmla="*/ 103188 w 3618044"/>
              <a:gd name="connsiteY6" fmla="*/ 7708682 h 7708682"/>
              <a:gd name="connsiteX0" fmla="*/ 0 w 3618044"/>
              <a:gd name="connsiteY0" fmla="*/ 4506436 h 7708682"/>
              <a:gd name="connsiteX1" fmla="*/ 3618044 w 3618044"/>
              <a:gd name="connsiteY1" fmla="*/ 0 h 7708682"/>
              <a:gd name="connsiteX2" fmla="*/ 103188 w 3618044"/>
              <a:gd name="connsiteY2" fmla="*/ 4506434 h 7708682"/>
              <a:gd name="connsiteX3" fmla="*/ 103188 w 3618044"/>
              <a:gd name="connsiteY3" fmla="*/ 5974132 h 7708682"/>
              <a:gd name="connsiteX4" fmla="*/ 182563 w 3618044"/>
              <a:gd name="connsiteY4" fmla="*/ 6107557 h 7708682"/>
              <a:gd name="connsiteX5" fmla="*/ 103188 w 3618044"/>
              <a:gd name="connsiteY5" fmla="*/ 6240984 h 7708682"/>
              <a:gd name="connsiteX6" fmla="*/ 103188 w 3618044"/>
              <a:gd name="connsiteY6" fmla="*/ 7708682 h 7708682"/>
              <a:gd name="connsiteX7" fmla="*/ 0 w 3618044"/>
              <a:gd name="connsiteY7" fmla="*/ 7708682 h 7708682"/>
              <a:gd name="connsiteX0" fmla="*/ 0 w 3618044"/>
              <a:gd name="connsiteY0" fmla="*/ 4506432 h 7708682"/>
              <a:gd name="connsiteX1" fmla="*/ 3618044 w 3618044"/>
              <a:gd name="connsiteY1" fmla="*/ 0 h 7708682"/>
              <a:gd name="connsiteX2" fmla="*/ 103188 w 3618044"/>
              <a:gd name="connsiteY2" fmla="*/ 4506434 h 7708682"/>
              <a:gd name="connsiteX3" fmla="*/ 103188 w 3618044"/>
              <a:gd name="connsiteY3" fmla="*/ 5974132 h 7708682"/>
              <a:gd name="connsiteX4" fmla="*/ 182563 w 3618044"/>
              <a:gd name="connsiteY4" fmla="*/ 6107557 h 7708682"/>
              <a:gd name="connsiteX5" fmla="*/ 103188 w 3618044"/>
              <a:gd name="connsiteY5" fmla="*/ 6240984 h 7708682"/>
              <a:gd name="connsiteX6" fmla="*/ 103188 w 3618044"/>
              <a:gd name="connsiteY6" fmla="*/ 7708682 h 7708682"/>
              <a:gd name="connsiteX7" fmla="*/ 0 w 3618044"/>
              <a:gd name="connsiteY7" fmla="*/ 7708682 h 7708682"/>
              <a:gd name="connsiteX0" fmla="*/ 0 w 182563"/>
              <a:gd name="connsiteY0" fmla="*/ 0 h 3202250"/>
              <a:gd name="connsiteX1" fmla="*/ 103188 w 182563"/>
              <a:gd name="connsiteY1" fmla="*/ 0 h 3202250"/>
              <a:gd name="connsiteX2" fmla="*/ 103188 w 182563"/>
              <a:gd name="connsiteY2" fmla="*/ 2 h 3202250"/>
              <a:gd name="connsiteX3" fmla="*/ 103188 w 182563"/>
              <a:gd name="connsiteY3" fmla="*/ 1467700 h 3202250"/>
              <a:gd name="connsiteX4" fmla="*/ 182563 w 182563"/>
              <a:gd name="connsiteY4" fmla="*/ 1601125 h 3202250"/>
              <a:gd name="connsiteX5" fmla="*/ 103188 w 182563"/>
              <a:gd name="connsiteY5" fmla="*/ 1734552 h 3202250"/>
              <a:gd name="connsiteX6" fmla="*/ 103188 w 182563"/>
              <a:gd name="connsiteY6" fmla="*/ 3202250 h 3202250"/>
              <a:gd name="connsiteX7" fmla="*/ 0 w 182563"/>
              <a:gd name="connsiteY7" fmla="*/ 3202250 h 3202250"/>
              <a:gd name="connsiteX0" fmla="*/ 0 w 182563"/>
              <a:gd name="connsiteY0" fmla="*/ 0 h 3202250"/>
              <a:gd name="connsiteX1" fmla="*/ 103188 w 182563"/>
              <a:gd name="connsiteY1" fmla="*/ 0 h 3202250"/>
              <a:gd name="connsiteX2" fmla="*/ 103189 w 182563"/>
              <a:gd name="connsiteY2" fmla="*/ 1467696 h 3202250"/>
              <a:gd name="connsiteX3" fmla="*/ 103188 w 182563"/>
              <a:gd name="connsiteY3" fmla="*/ 1467700 h 3202250"/>
              <a:gd name="connsiteX4" fmla="*/ 182563 w 182563"/>
              <a:gd name="connsiteY4" fmla="*/ 1601125 h 3202250"/>
              <a:gd name="connsiteX5" fmla="*/ 103188 w 182563"/>
              <a:gd name="connsiteY5" fmla="*/ 1734552 h 3202250"/>
              <a:gd name="connsiteX6" fmla="*/ 103188 w 182563"/>
              <a:gd name="connsiteY6" fmla="*/ 3202250 h 3202250"/>
              <a:gd name="connsiteX7" fmla="*/ 0 w 182563"/>
              <a:gd name="connsiteY7" fmla="*/ 3202250 h 3202250"/>
              <a:gd name="connsiteX0" fmla="*/ 0 w 182564"/>
              <a:gd name="connsiteY0" fmla="*/ 0 h 3202250"/>
              <a:gd name="connsiteX1" fmla="*/ 103188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82563 w 182564"/>
              <a:gd name="connsiteY4" fmla="*/ 1601125 h 3202250"/>
              <a:gd name="connsiteX5" fmla="*/ 103188 w 182564"/>
              <a:gd name="connsiteY5" fmla="*/ 1734552 h 3202250"/>
              <a:gd name="connsiteX6" fmla="*/ 103188 w 182564"/>
              <a:gd name="connsiteY6" fmla="*/ 3202250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03188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1734552 h 3202250"/>
              <a:gd name="connsiteX6" fmla="*/ 103188 w 182564"/>
              <a:gd name="connsiteY6" fmla="*/ 3202250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03188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3202248 h 3202250"/>
              <a:gd name="connsiteX6" fmla="*/ 103188 w 182564"/>
              <a:gd name="connsiteY6" fmla="*/ 3202250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03188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3202248 h 3202250"/>
              <a:gd name="connsiteX6" fmla="*/ 0 w 182564"/>
              <a:gd name="connsiteY6" fmla="*/ 3202248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03188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3202248 h 3202250"/>
              <a:gd name="connsiteX6" fmla="*/ 0 w 182564"/>
              <a:gd name="connsiteY6" fmla="*/ 3202248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79127 w 182564"/>
              <a:gd name="connsiteY1" fmla="*/ 0 h 3202250"/>
              <a:gd name="connsiteX2" fmla="*/ 103189 w 182564"/>
              <a:gd name="connsiteY2" fmla="*/ 146769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3202248 h 3202250"/>
              <a:gd name="connsiteX6" fmla="*/ 0 w 182564"/>
              <a:gd name="connsiteY6" fmla="*/ 3202248 h 3202250"/>
              <a:gd name="connsiteX7" fmla="*/ 0 w 182564"/>
              <a:gd name="connsiteY7" fmla="*/ 3202250 h 3202250"/>
              <a:gd name="connsiteX0" fmla="*/ 0 w 182564"/>
              <a:gd name="connsiteY0" fmla="*/ 0 h 3202250"/>
              <a:gd name="connsiteX1" fmla="*/ 179127 w 182564"/>
              <a:gd name="connsiteY1" fmla="*/ 0 h 3202250"/>
              <a:gd name="connsiteX2" fmla="*/ 179127 w 182564"/>
              <a:gd name="connsiteY2" fmla="*/ 1377226 h 3202250"/>
              <a:gd name="connsiteX3" fmla="*/ 182564 w 182564"/>
              <a:gd name="connsiteY3" fmla="*/ 1601123 h 3202250"/>
              <a:gd name="connsiteX4" fmla="*/ 103188 w 182564"/>
              <a:gd name="connsiteY4" fmla="*/ 1734550 h 3202250"/>
              <a:gd name="connsiteX5" fmla="*/ 103188 w 182564"/>
              <a:gd name="connsiteY5" fmla="*/ 3202248 h 3202250"/>
              <a:gd name="connsiteX6" fmla="*/ 0 w 182564"/>
              <a:gd name="connsiteY6" fmla="*/ 3202248 h 3202250"/>
              <a:gd name="connsiteX7" fmla="*/ 0 w 182564"/>
              <a:gd name="connsiteY7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03188 w 316914"/>
              <a:gd name="connsiteY4" fmla="*/ 1734550 h 3202250"/>
              <a:gd name="connsiteX5" fmla="*/ 103188 w 316914"/>
              <a:gd name="connsiteY5" fmla="*/ 3202248 h 3202250"/>
              <a:gd name="connsiteX6" fmla="*/ 0 w 316914"/>
              <a:gd name="connsiteY6" fmla="*/ 3202248 h 3202250"/>
              <a:gd name="connsiteX7" fmla="*/ 0 w 316914"/>
              <a:gd name="connsiteY7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79127 w 316914"/>
              <a:gd name="connsiteY4" fmla="*/ 1825021 h 3202250"/>
              <a:gd name="connsiteX5" fmla="*/ 103188 w 316914"/>
              <a:gd name="connsiteY5" fmla="*/ 3202248 h 3202250"/>
              <a:gd name="connsiteX6" fmla="*/ 0 w 316914"/>
              <a:gd name="connsiteY6" fmla="*/ 3202248 h 3202250"/>
              <a:gd name="connsiteX7" fmla="*/ 0 w 316914"/>
              <a:gd name="connsiteY7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79127 w 316914"/>
              <a:gd name="connsiteY4" fmla="*/ 1825021 h 3202250"/>
              <a:gd name="connsiteX5" fmla="*/ 179127 w 316914"/>
              <a:gd name="connsiteY5" fmla="*/ 3202250 h 3202250"/>
              <a:gd name="connsiteX6" fmla="*/ 0 w 316914"/>
              <a:gd name="connsiteY6" fmla="*/ 3202248 h 3202250"/>
              <a:gd name="connsiteX7" fmla="*/ 0 w 316914"/>
              <a:gd name="connsiteY7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79127 w 316914"/>
              <a:gd name="connsiteY4" fmla="*/ 1825021 h 3202250"/>
              <a:gd name="connsiteX5" fmla="*/ 179127 w 316914"/>
              <a:gd name="connsiteY5" fmla="*/ 3202250 h 3202250"/>
              <a:gd name="connsiteX6" fmla="*/ 0 w 316914"/>
              <a:gd name="connsiteY6" fmla="*/ 3202250 h 3202250"/>
              <a:gd name="connsiteX7" fmla="*/ 0 w 316914"/>
              <a:gd name="connsiteY7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79127 w 316914"/>
              <a:gd name="connsiteY4" fmla="*/ 1825021 h 3202250"/>
              <a:gd name="connsiteX5" fmla="*/ 179127 w 316914"/>
              <a:gd name="connsiteY5" fmla="*/ 3202250 h 3202250"/>
              <a:gd name="connsiteX6" fmla="*/ 0 w 316914"/>
              <a:gd name="connsiteY6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179127 w 316914"/>
              <a:gd name="connsiteY4" fmla="*/ 1825021 h 3202250"/>
              <a:gd name="connsiteX5" fmla="*/ 0 w 316914"/>
              <a:gd name="connsiteY5" fmla="*/ 3202250 h 3202250"/>
              <a:gd name="connsiteX0" fmla="*/ 0 w 316914"/>
              <a:gd name="connsiteY0" fmla="*/ 0 h 3202250"/>
              <a:gd name="connsiteX1" fmla="*/ 179127 w 316914"/>
              <a:gd name="connsiteY1" fmla="*/ 0 h 3202250"/>
              <a:gd name="connsiteX2" fmla="*/ 179127 w 316914"/>
              <a:gd name="connsiteY2" fmla="*/ 1377226 h 3202250"/>
              <a:gd name="connsiteX3" fmla="*/ 316914 w 316914"/>
              <a:gd name="connsiteY3" fmla="*/ 1601123 h 3202250"/>
              <a:gd name="connsiteX4" fmla="*/ 0 w 316914"/>
              <a:gd name="connsiteY4" fmla="*/ 3202250 h 3202250"/>
              <a:gd name="connsiteX0" fmla="*/ 0 w 179127"/>
              <a:gd name="connsiteY0" fmla="*/ 0 h 3202250"/>
              <a:gd name="connsiteX1" fmla="*/ 179127 w 179127"/>
              <a:gd name="connsiteY1" fmla="*/ 0 h 3202250"/>
              <a:gd name="connsiteX2" fmla="*/ 179127 w 179127"/>
              <a:gd name="connsiteY2" fmla="*/ 1377226 h 3202250"/>
              <a:gd name="connsiteX3" fmla="*/ 0 w 179127"/>
              <a:gd name="connsiteY3" fmla="*/ 3202250 h 3202250"/>
              <a:gd name="connsiteX0" fmla="*/ 0 w 179127"/>
              <a:gd name="connsiteY0" fmla="*/ 0 h 3202250"/>
              <a:gd name="connsiteX1" fmla="*/ 179127 w 179127"/>
              <a:gd name="connsiteY1" fmla="*/ 0 h 3202250"/>
              <a:gd name="connsiteX2" fmla="*/ 0 w 179127"/>
              <a:gd name="connsiteY2" fmla="*/ 3202250 h 3202250"/>
              <a:gd name="connsiteX0" fmla="*/ 0 w 0"/>
              <a:gd name="connsiteY0" fmla="*/ 0 h 3202250"/>
              <a:gd name="connsiteX1" fmla="*/ 0 w 0"/>
              <a:gd name="connsiteY1" fmla="*/ 3202250 h 3202250"/>
              <a:gd name="connsiteX0" fmla="*/ 0 w 5595144"/>
              <a:gd name="connsiteY0" fmla="*/ 15402719 h 15402719"/>
              <a:gd name="connsiteX1" fmla="*/ 5595144 w 5595144"/>
              <a:gd name="connsiteY1" fmla="*/ 0 h 15402719"/>
              <a:gd name="connsiteX0" fmla="*/ 0 w 5595144"/>
              <a:gd name="connsiteY0" fmla="*/ 15402719 h 15402719"/>
              <a:gd name="connsiteX1" fmla="*/ 5595144 w 5595144"/>
              <a:gd name="connsiteY1" fmla="*/ 0 h 15402719"/>
              <a:gd name="connsiteX2" fmla="*/ 103188 w 5595144"/>
              <a:gd name="connsiteY2" fmla="*/ 15402716 h 15402719"/>
              <a:gd name="connsiteX0" fmla="*/ 0 w 5595144"/>
              <a:gd name="connsiteY0" fmla="*/ 15402719 h 18189898"/>
              <a:gd name="connsiteX1" fmla="*/ 5595144 w 5595144"/>
              <a:gd name="connsiteY1" fmla="*/ 0 h 18189898"/>
              <a:gd name="connsiteX2" fmla="*/ 103188 w 5595144"/>
              <a:gd name="connsiteY2" fmla="*/ 15402716 h 18189898"/>
              <a:gd name="connsiteX3" fmla="*/ 103188 w 5595144"/>
              <a:gd name="connsiteY3" fmla="*/ 18189898 h 18189898"/>
              <a:gd name="connsiteX0" fmla="*/ 0 w 5595144"/>
              <a:gd name="connsiteY0" fmla="*/ 15402719 h 18443275"/>
              <a:gd name="connsiteX1" fmla="*/ 5595144 w 5595144"/>
              <a:gd name="connsiteY1" fmla="*/ 0 h 18443275"/>
              <a:gd name="connsiteX2" fmla="*/ 103188 w 5595144"/>
              <a:gd name="connsiteY2" fmla="*/ 15402716 h 18443275"/>
              <a:gd name="connsiteX3" fmla="*/ 103188 w 5595144"/>
              <a:gd name="connsiteY3" fmla="*/ 18189898 h 18443275"/>
              <a:gd name="connsiteX4" fmla="*/ 182563 w 5595144"/>
              <a:gd name="connsiteY4" fmla="*/ 18443275 h 18443275"/>
              <a:gd name="connsiteX0" fmla="*/ 0 w 5595144"/>
              <a:gd name="connsiteY0" fmla="*/ 15402719 h 18696655"/>
              <a:gd name="connsiteX1" fmla="*/ 5595144 w 5595144"/>
              <a:gd name="connsiteY1" fmla="*/ 0 h 18696655"/>
              <a:gd name="connsiteX2" fmla="*/ 103188 w 5595144"/>
              <a:gd name="connsiteY2" fmla="*/ 15402716 h 18696655"/>
              <a:gd name="connsiteX3" fmla="*/ 103188 w 5595144"/>
              <a:gd name="connsiteY3" fmla="*/ 18189898 h 18696655"/>
              <a:gd name="connsiteX4" fmla="*/ 182563 w 5595144"/>
              <a:gd name="connsiteY4" fmla="*/ 18443275 h 18696655"/>
              <a:gd name="connsiteX5" fmla="*/ 103188 w 5595144"/>
              <a:gd name="connsiteY5" fmla="*/ 18696655 h 18696655"/>
              <a:gd name="connsiteX0" fmla="*/ 0 w 5595144"/>
              <a:gd name="connsiteY0" fmla="*/ 15402719 h 21483837"/>
              <a:gd name="connsiteX1" fmla="*/ 5595144 w 5595144"/>
              <a:gd name="connsiteY1" fmla="*/ 0 h 21483837"/>
              <a:gd name="connsiteX2" fmla="*/ 103188 w 5595144"/>
              <a:gd name="connsiteY2" fmla="*/ 15402716 h 21483837"/>
              <a:gd name="connsiteX3" fmla="*/ 103188 w 5595144"/>
              <a:gd name="connsiteY3" fmla="*/ 18189898 h 21483837"/>
              <a:gd name="connsiteX4" fmla="*/ 182563 w 5595144"/>
              <a:gd name="connsiteY4" fmla="*/ 18443275 h 21483837"/>
              <a:gd name="connsiteX5" fmla="*/ 103188 w 5595144"/>
              <a:gd name="connsiteY5" fmla="*/ 18696655 h 21483837"/>
              <a:gd name="connsiteX6" fmla="*/ 103188 w 5595144"/>
              <a:gd name="connsiteY6" fmla="*/ 21483837 h 21483837"/>
              <a:gd name="connsiteX0" fmla="*/ 0 w 5595144"/>
              <a:gd name="connsiteY0" fmla="*/ 15402719 h 21483837"/>
              <a:gd name="connsiteX1" fmla="*/ 5595144 w 5595144"/>
              <a:gd name="connsiteY1" fmla="*/ 0 h 21483837"/>
              <a:gd name="connsiteX2" fmla="*/ 103188 w 5595144"/>
              <a:gd name="connsiteY2" fmla="*/ 15402716 h 21483837"/>
              <a:gd name="connsiteX3" fmla="*/ 103188 w 5595144"/>
              <a:gd name="connsiteY3" fmla="*/ 18189898 h 21483837"/>
              <a:gd name="connsiteX4" fmla="*/ 182563 w 5595144"/>
              <a:gd name="connsiteY4" fmla="*/ 18443275 h 21483837"/>
              <a:gd name="connsiteX5" fmla="*/ 103188 w 5595144"/>
              <a:gd name="connsiteY5" fmla="*/ 18696655 h 21483837"/>
              <a:gd name="connsiteX6" fmla="*/ 103188 w 5595144"/>
              <a:gd name="connsiteY6" fmla="*/ 21483837 h 21483837"/>
              <a:gd name="connsiteX7" fmla="*/ 0 w 5595144"/>
              <a:gd name="connsiteY7" fmla="*/ 21483837 h 21483837"/>
              <a:gd name="connsiteX0" fmla="*/ 0 w 5595144"/>
              <a:gd name="connsiteY0" fmla="*/ 15402712 h 21483837"/>
              <a:gd name="connsiteX1" fmla="*/ 5595144 w 5595144"/>
              <a:gd name="connsiteY1" fmla="*/ 0 h 21483837"/>
              <a:gd name="connsiteX2" fmla="*/ 103188 w 5595144"/>
              <a:gd name="connsiteY2" fmla="*/ 15402716 h 21483837"/>
              <a:gd name="connsiteX3" fmla="*/ 103188 w 5595144"/>
              <a:gd name="connsiteY3" fmla="*/ 18189898 h 21483837"/>
              <a:gd name="connsiteX4" fmla="*/ 182563 w 5595144"/>
              <a:gd name="connsiteY4" fmla="*/ 18443275 h 21483837"/>
              <a:gd name="connsiteX5" fmla="*/ 103188 w 5595144"/>
              <a:gd name="connsiteY5" fmla="*/ 18696655 h 21483837"/>
              <a:gd name="connsiteX6" fmla="*/ 103188 w 5595144"/>
              <a:gd name="connsiteY6" fmla="*/ 21483837 h 21483837"/>
              <a:gd name="connsiteX7" fmla="*/ 0 w 5595144"/>
              <a:gd name="connsiteY7" fmla="*/ 21483837 h 21483837"/>
              <a:gd name="connsiteX0" fmla="*/ 0 w 182563"/>
              <a:gd name="connsiteY0" fmla="*/ 0 h 6081125"/>
              <a:gd name="connsiteX1" fmla="*/ 103188 w 182563"/>
              <a:gd name="connsiteY1" fmla="*/ 0 h 6081125"/>
              <a:gd name="connsiteX2" fmla="*/ 103188 w 182563"/>
              <a:gd name="connsiteY2" fmla="*/ 4 h 6081125"/>
              <a:gd name="connsiteX3" fmla="*/ 103188 w 182563"/>
              <a:gd name="connsiteY3" fmla="*/ 2787186 h 6081125"/>
              <a:gd name="connsiteX4" fmla="*/ 182563 w 182563"/>
              <a:gd name="connsiteY4" fmla="*/ 3040563 h 6081125"/>
              <a:gd name="connsiteX5" fmla="*/ 103188 w 182563"/>
              <a:gd name="connsiteY5" fmla="*/ 3293943 h 6081125"/>
              <a:gd name="connsiteX6" fmla="*/ 103188 w 182563"/>
              <a:gd name="connsiteY6" fmla="*/ 6081125 h 6081125"/>
              <a:gd name="connsiteX7" fmla="*/ 0 w 182563"/>
              <a:gd name="connsiteY7" fmla="*/ 6081125 h 6081125"/>
              <a:gd name="connsiteX0" fmla="*/ 0 w 182563"/>
              <a:gd name="connsiteY0" fmla="*/ 0 h 6081125"/>
              <a:gd name="connsiteX1" fmla="*/ 103188 w 182563"/>
              <a:gd name="connsiteY1" fmla="*/ 0 h 6081125"/>
              <a:gd name="connsiteX2" fmla="*/ 103189 w 182563"/>
              <a:gd name="connsiteY2" fmla="*/ 2787179 h 6081125"/>
              <a:gd name="connsiteX3" fmla="*/ 103188 w 182563"/>
              <a:gd name="connsiteY3" fmla="*/ 2787186 h 6081125"/>
              <a:gd name="connsiteX4" fmla="*/ 182563 w 182563"/>
              <a:gd name="connsiteY4" fmla="*/ 3040563 h 6081125"/>
              <a:gd name="connsiteX5" fmla="*/ 103188 w 182563"/>
              <a:gd name="connsiteY5" fmla="*/ 3293943 h 6081125"/>
              <a:gd name="connsiteX6" fmla="*/ 103188 w 182563"/>
              <a:gd name="connsiteY6" fmla="*/ 6081125 h 6081125"/>
              <a:gd name="connsiteX7" fmla="*/ 0 w 182563"/>
              <a:gd name="connsiteY7" fmla="*/ 6081125 h 6081125"/>
              <a:gd name="connsiteX0" fmla="*/ 0 w 182564"/>
              <a:gd name="connsiteY0" fmla="*/ 0 h 6081125"/>
              <a:gd name="connsiteX1" fmla="*/ 103188 w 182564"/>
              <a:gd name="connsiteY1" fmla="*/ 0 h 6081125"/>
              <a:gd name="connsiteX2" fmla="*/ 103189 w 182564"/>
              <a:gd name="connsiteY2" fmla="*/ 2787179 h 6081125"/>
              <a:gd name="connsiteX3" fmla="*/ 182564 w 182564"/>
              <a:gd name="connsiteY3" fmla="*/ 3040559 h 6081125"/>
              <a:gd name="connsiteX4" fmla="*/ 182563 w 182564"/>
              <a:gd name="connsiteY4" fmla="*/ 3040563 h 6081125"/>
              <a:gd name="connsiteX5" fmla="*/ 103188 w 182564"/>
              <a:gd name="connsiteY5" fmla="*/ 3293943 h 6081125"/>
              <a:gd name="connsiteX6" fmla="*/ 103188 w 182564"/>
              <a:gd name="connsiteY6" fmla="*/ 6081125 h 6081125"/>
              <a:gd name="connsiteX7" fmla="*/ 0 w 182564"/>
              <a:gd name="connsiteY7" fmla="*/ 6081125 h 6081125"/>
              <a:gd name="connsiteX0" fmla="*/ 0 w 182564"/>
              <a:gd name="connsiteY0" fmla="*/ 0 h 6081125"/>
              <a:gd name="connsiteX1" fmla="*/ 103188 w 182564"/>
              <a:gd name="connsiteY1" fmla="*/ 0 h 6081125"/>
              <a:gd name="connsiteX2" fmla="*/ 103189 w 182564"/>
              <a:gd name="connsiteY2" fmla="*/ 2787179 h 6081125"/>
              <a:gd name="connsiteX3" fmla="*/ 182564 w 182564"/>
              <a:gd name="connsiteY3" fmla="*/ 3040559 h 6081125"/>
              <a:gd name="connsiteX4" fmla="*/ 103188 w 182564"/>
              <a:gd name="connsiteY4" fmla="*/ 3293939 h 6081125"/>
              <a:gd name="connsiteX5" fmla="*/ 103188 w 182564"/>
              <a:gd name="connsiteY5" fmla="*/ 3293943 h 6081125"/>
              <a:gd name="connsiteX6" fmla="*/ 103188 w 182564"/>
              <a:gd name="connsiteY6" fmla="*/ 6081125 h 6081125"/>
              <a:gd name="connsiteX7" fmla="*/ 0 w 182564"/>
              <a:gd name="connsiteY7" fmla="*/ 6081125 h 6081125"/>
              <a:gd name="connsiteX0" fmla="*/ 0 w 182564"/>
              <a:gd name="connsiteY0" fmla="*/ 0 h 6081125"/>
              <a:gd name="connsiteX1" fmla="*/ 103188 w 182564"/>
              <a:gd name="connsiteY1" fmla="*/ 0 h 6081125"/>
              <a:gd name="connsiteX2" fmla="*/ 103189 w 182564"/>
              <a:gd name="connsiteY2" fmla="*/ 2787179 h 6081125"/>
              <a:gd name="connsiteX3" fmla="*/ 182564 w 182564"/>
              <a:gd name="connsiteY3" fmla="*/ 3040559 h 6081125"/>
              <a:gd name="connsiteX4" fmla="*/ 103188 w 182564"/>
              <a:gd name="connsiteY4" fmla="*/ 3293939 h 6081125"/>
              <a:gd name="connsiteX5" fmla="*/ 103188 w 182564"/>
              <a:gd name="connsiteY5" fmla="*/ 6081122 h 6081125"/>
              <a:gd name="connsiteX6" fmla="*/ 103188 w 182564"/>
              <a:gd name="connsiteY6" fmla="*/ 6081125 h 6081125"/>
              <a:gd name="connsiteX7" fmla="*/ 0 w 182564"/>
              <a:gd name="connsiteY7" fmla="*/ 6081125 h 6081125"/>
              <a:gd name="connsiteX0" fmla="*/ 0 w 182564"/>
              <a:gd name="connsiteY0" fmla="*/ 0 h 6081125"/>
              <a:gd name="connsiteX1" fmla="*/ 103188 w 182564"/>
              <a:gd name="connsiteY1" fmla="*/ 0 h 6081125"/>
              <a:gd name="connsiteX2" fmla="*/ 103189 w 182564"/>
              <a:gd name="connsiteY2" fmla="*/ 2787179 h 6081125"/>
              <a:gd name="connsiteX3" fmla="*/ 182564 w 182564"/>
              <a:gd name="connsiteY3" fmla="*/ 3040559 h 6081125"/>
              <a:gd name="connsiteX4" fmla="*/ 103188 w 182564"/>
              <a:gd name="connsiteY4" fmla="*/ 3293939 h 6081125"/>
              <a:gd name="connsiteX5" fmla="*/ 103188 w 182564"/>
              <a:gd name="connsiteY5" fmla="*/ 6081122 h 6081125"/>
              <a:gd name="connsiteX6" fmla="*/ 0 w 182564"/>
              <a:gd name="connsiteY6" fmla="*/ 6081122 h 6081125"/>
              <a:gd name="connsiteX7" fmla="*/ 0 w 182564"/>
              <a:gd name="connsiteY7" fmla="*/ 6081125 h 6081125"/>
              <a:gd name="connsiteX0" fmla="*/ 0 w 182564"/>
              <a:gd name="connsiteY0" fmla="*/ 0 h 6081125"/>
              <a:gd name="connsiteX1" fmla="*/ 103188 w 182564"/>
              <a:gd name="connsiteY1" fmla="*/ 0 h 6081125"/>
              <a:gd name="connsiteX2" fmla="*/ 103189 w 182564"/>
              <a:gd name="connsiteY2" fmla="*/ 2787179 h 6081125"/>
              <a:gd name="connsiteX3" fmla="*/ 182564 w 182564"/>
              <a:gd name="connsiteY3" fmla="*/ 3040559 h 6081125"/>
              <a:gd name="connsiteX4" fmla="*/ 103188 w 182564"/>
              <a:gd name="connsiteY4" fmla="*/ 3293939 h 6081125"/>
              <a:gd name="connsiteX5" fmla="*/ 103188 w 182564"/>
              <a:gd name="connsiteY5" fmla="*/ 6081122 h 6081125"/>
              <a:gd name="connsiteX6" fmla="*/ 0 w 182564"/>
              <a:gd name="connsiteY6" fmla="*/ 6081122 h 6081125"/>
              <a:gd name="connsiteX7" fmla="*/ 0 w 182564"/>
              <a:gd name="connsiteY7" fmla="*/ 6081125 h 6081125"/>
              <a:gd name="connsiteX0" fmla="*/ 0 w 194266"/>
              <a:gd name="connsiteY0" fmla="*/ 0 h 6081125"/>
              <a:gd name="connsiteX1" fmla="*/ 194266 w 194266"/>
              <a:gd name="connsiteY1" fmla="*/ 0 h 6081125"/>
              <a:gd name="connsiteX2" fmla="*/ 103189 w 194266"/>
              <a:gd name="connsiteY2" fmla="*/ 2787179 h 6081125"/>
              <a:gd name="connsiteX3" fmla="*/ 182564 w 194266"/>
              <a:gd name="connsiteY3" fmla="*/ 3040559 h 6081125"/>
              <a:gd name="connsiteX4" fmla="*/ 103188 w 194266"/>
              <a:gd name="connsiteY4" fmla="*/ 3293939 h 6081125"/>
              <a:gd name="connsiteX5" fmla="*/ 103188 w 194266"/>
              <a:gd name="connsiteY5" fmla="*/ 6081122 h 6081125"/>
              <a:gd name="connsiteX6" fmla="*/ 0 w 194266"/>
              <a:gd name="connsiteY6" fmla="*/ 6081122 h 6081125"/>
              <a:gd name="connsiteX7" fmla="*/ 0 w 194266"/>
              <a:gd name="connsiteY7" fmla="*/ 6081125 h 6081125"/>
              <a:gd name="connsiteX0" fmla="*/ 0 w 194266"/>
              <a:gd name="connsiteY0" fmla="*/ 0 h 6081125"/>
              <a:gd name="connsiteX1" fmla="*/ 194266 w 194266"/>
              <a:gd name="connsiteY1" fmla="*/ 0 h 6081125"/>
              <a:gd name="connsiteX2" fmla="*/ 194266 w 194266"/>
              <a:gd name="connsiteY2" fmla="*/ 2579435 h 6081125"/>
              <a:gd name="connsiteX3" fmla="*/ 182564 w 194266"/>
              <a:gd name="connsiteY3" fmla="*/ 3040559 h 6081125"/>
              <a:gd name="connsiteX4" fmla="*/ 103188 w 194266"/>
              <a:gd name="connsiteY4" fmla="*/ 3293939 h 6081125"/>
              <a:gd name="connsiteX5" fmla="*/ 103188 w 194266"/>
              <a:gd name="connsiteY5" fmla="*/ 6081122 h 6081125"/>
              <a:gd name="connsiteX6" fmla="*/ 0 w 194266"/>
              <a:gd name="connsiteY6" fmla="*/ 6081122 h 6081125"/>
              <a:gd name="connsiteX7" fmla="*/ 0 w 194266"/>
              <a:gd name="connsiteY7" fmla="*/ 6081125 h 6081125"/>
              <a:gd name="connsiteX0" fmla="*/ 0 w 343702"/>
              <a:gd name="connsiteY0" fmla="*/ 0 h 6081125"/>
              <a:gd name="connsiteX1" fmla="*/ 194266 w 343702"/>
              <a:gd name="connsiteY1" fmla="*/ 0 h 6081125"/>
              <a:gd name="connsiteX2" fmla="*/ 194266 w 343702"/>
              <a:gd name="connsiteY2" fmla="*/ 2579435 h 6081125"/>
              <a:gd name="connsiteX3" fmla="*/ 343702 w 343702"/>
              <a:gd name="connsiteY3" fmla="*/ 3040559 h 6081125"/>
              <a:gd name="connsiteX4" fmla="*/ 103188 w 343702"/>
              <a:gd name="connsiteY4" fmla="*/ 3293939 h 6081125"/>
              <a:gd name="connsiteX5" fmla="*/ 103188 w 343702"/>
              <a:gd name="connsiteY5" fmla="*/ 6081122 h 6081125"/>
              <a:gd name="connsiteX6" fmla="*/ 0 w 343702"/>
              <a:gd name="connsiteY6" fmla="*/ 6081122 h 6081125"/>
              <a:gd name="connsiteX7" fmla="*/ 0 w 343702"/>
              <a:gd name="connsiteY7" fmla="*/ 6081125 h 6081125"/>
              <a:gd name="connsiteX0" fmla="*/ 0 w 343702"/>
              <a:gd name="connsiteY0" fmla="*/ 0 h 6081125"/>
              <a:gd name="connsiteX1" fmla="*/ 194266 w 343702"/>
              <a:gd name="connsiteY1" fmla="*/ 0 h 6081125"/>
              <a:gd name="connsiteX2" fmla="*/ 194266 w 343702"/>
              <a:gd name="connsiteY2" fmla="*/ 2579435 h 6081125"/>
              <a:gd name="connsiteX3" fmla="*/ 343702 w 343702"/>
              <a:gd name="connsiteY3" fmla="*/ 3040559 h 6081125"/>
              <a:gd name="connsiteX4" fmla="*/ 194266 w 343702"/>
              <a:gd name="connsiteY4" fmla="*/ 3501690 h 6081125"/>
              <a:gd name="connsiteX5" fmla="*/ 103188 w 343702"/>
              <a:gd name="connsiteY5" fmla="*/ 6081122 h 6081125"/>
              <a:gd name="connsiteX6" fmla="*/ 0 w 343702"/>
              <a:gd name="connsiteY6" fmla="*/ 6081122 h 6081125"/>
              <a:gd name="connsiteX7" fmla="*/ 0 w 343702"/>
              <a:gd name="connsiteY7" fmla="*/ 6081125 h 6081125"/>
              <a:gd name="connsiteX0" fmla="*/ 0 w 343702"/>
              <a:gd name="connsiteY0" fmla="*/ 0 h 6081125"/>
              <a:gd name="connsiteX1" fmla="*/ 194266 w 343702"/>
              <a:gd name="connsiteY1" fmla="*/ 0 h 6081125"/>
              <a:gd name="connsiteX2" fmla="*/ 194266 w 343702"/>
              <a:gd name="connsiteY2" fmla="*/ 2579435 h 6081125"/>
              <a:gd name="connsiteX3" fmla="*/ 343702 w 343702"/>
              <a:gd name="connsiteY3" fmla="*/ 3040559 h 6081125"/>
              <a:gd name="connsiteX4" fmla="*/ 194266 w 343702"/>
              <a:gd name="connsiteY4" fmla="*/ 3501690 h 6081125"/>
              <a:gd name="connsiteX5" fmla="*/ 194266 w 343702"/>
              <a:gd name="connsiteY5" fmla="*/ 6081125 h 6081125"/>
              <a:gd name="connsiteX6" fmla="*/ 0 w 343702"/>
              <a:gd name="connsiteY6" fmla="*/ 6081122 h 6081125"/>
              <a:gd name="connsiteX7" fmla="*/ 0 w 343702"/>
              <a:gd name="connsiteY7" fmla="*/ 6081125 h 6081125"/>
              <a:gd name="connsiteX0" fmla="*/ 0 w 343702"/>
              <a:gd name="connsiteY0" fmla="*/ 0 h 6081125"/>
              <a:gd name="connsiteX1" fmla="*/ 194266 w 343702"/>
              <a:gd name="connsiteY1" fmla="*/ 0 h 6081125"/>
              <a:gd name="connsiteX2" fmla="*/ 194266 w 343702"/>
              <a:gd name="connsiteY2" fmla="*/ 2579435 h 6081125"/>
              <a:gd name="connsiteX3" fmla="*/ 343702 w 343702"/>
              <a:gd name="connsiteY3" fmla="*/ 3040559 h 6081125"/>
              <a:gd name="connsiteX4" fmla="*/ 194266 w 343702"/>
              <a:gd name="connsiteY4" fmla="*/ 3501690 h 6081125"/>
              <a:gd name="connsiteX5" fmla="*/ 194266 w 343702"/>
              <a:gd name="connsiteY5" fmla="*/ 6081125 h 6081125"/>
              <a:gd name="connsiteX6" fmla="*/ 0 w 343702"/>
              <a:gd name="connsiteY6" fmla="*/ 6081125 h 6081125"/>
              <a:gd name="connsiteX7" fmla="*/ 0 w 343702"/>
              <a:gd name="connsiteY7" fmla="*/ 6081125 h 608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702" h="6081125">
                <a:moveTo>
                  <a:pt x="0" y="0"/>
                </a:moveTo>
                <a:lnTo>
                  <a:pt x="194266" y="0"/>
                </a:lnTo>
                <a:lnTo>
                  <a:pt x="194266" y="2579435"/>
                </a:lnTo>
                <a:lnTo>
                  <a:pt x="343702" y="3040559"/>
                </a:lnTo>
                <a:lnTo>
                  <a:pt x="194266" y="3501690"/>
                </a:lnTo>
                <a:lnTo>
                  <a:pt x="194266" y="6081125"/>
                </a:lnTo>
                <a:lnTo>
                  <a:pt x="0" y="6081125"/>
                </a:lnTo>
                <a:lnTo>
                  <a:pt x="0" y="6081125"/>
                </a:lnTo>
              </a:path>
            </a:pathLst>
          </a:cu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sz="12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1" name="Slide Number"/>
          <p:cNvSpPr txBox="1">
            <a:spLocks/>
          </p:cNvSpPr>
          <p:nvPr/>
        </p:nvSpPr>
        <p:spPr bwMode="gray">
          <a:xfrm>
            <a:off x="11419923" y="6460655"/>
            <a:ext cx="5770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r>
              <a:rPr lang="en-US" sz="800" dirty="0">
                <a:solidFill>
                  <a:srgbClr val="002960"/>
                </a:solidFill>
              </a:rPr>
              <a:t>5</a:t>
            </a:r>
            <a:endParaRPr sz="800" dirty="0">
              <a:solidFill>
                <a:srgbClr val="002960"/>
              </a:solidFill>
            </a:endParaRPr>
          </a:p>
        </p:txBody>
      </p:sp>
      <p:pic>
        <p:nvPicPr>
          <p:cNvPr id="72" name="Picture 71"/>
          <p:cNvPicPr>
            <a:picLocks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7825" y="6460655"/>
            <a:ext cx="797448" cy="1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97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0" grpId="0" animBg="1"/>
      <p:bldP spid="13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15359" y="841490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0" name="think-cell Slide" r:id="rId89" imgW="360" imgH="360" progId="TCLayout.ActiveDocument.1">
                  <p:embed/>
                </p:oleObj>
              </mc:Choice>
              <mc:Fallback>
                <p:oleObj name="think-cell Slide" r:id="rId89" imgW="360" imgH="36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2615359" y="841490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2614167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b="1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Rectangle 88"/>
          <p:cNvSpPr>
            <a:spLocks/>
          </p:cNvSpPr>
          <p:nvPr/>
        </p:nvSpPr>
        <p:spPr bwMode="gray">
          <a:xfrm>
            <a:off x="158760" y="3771900"/>
            <a:ext cx="5394315" cy="202727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1" name="Rectangle 140"/>
          <p:cNvSpPr>
            <a:spLocks/>
          </p:cNvSpPr>
          <p:nvPr/>
        </p:nvSpPr>
        <p:spPr bwMode="gray">
          <a:xfrm>
            <a:off x="6029655" y="3771900"/>
            <a:ext cx="5620995" cy="202727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0" name="Bracket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154488" y="3806825"/>
            <a:ext cx="180989" cy="196492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6" fmla="*/ 0 w 115"/>
              <a:gd name="connsiteY6" fmla="*/ 1152 h 1152"/>
              <a:gd name="connsiteX0" fmla="*/ 0 w 120"/>
              <a:gd name="connsiteY0" fmla="*/ 0 h 1152"/>
              <a:gd name="connsiteX1" fmla="*/ 120 w 120"/>
              <a:gd name="connsiteY1" fmla="*/ 0 h 1152"/>
              <a:gd name="connsiteX2" fmla="*/ 65 w 120"/>
              <a:gd name="connsiteY2" fmla="*/ 528 h 1152"/>
              <a:gd name="connsiteX3" fmla="*/ 115 w 120"/>
              <a:gd name="connsiteY3" fmla="*/ 576 h 1152"/>
              <a:gd name="connsiteX4" fmla="*/ 65 w 120"/>
              <a:gd name="connsiteY4" fmla="*/ 624 h 1152"/>
              <a:gd name="connsiteX5" fmla="*/ 65 w 120"/>
              <a:gd name="connsiteY5" fmla="*/ 1152 h 1152"/>
              <a:gd name="connsiteX6" fmla="*/ 0 w 120"/>
              <a:gd name="connsiteY6" fmla="*/ 1152 h 1152"/>
              <a:gd name="connsiteX0" fmla="*/ 0 w 120"/>
              <a:gd name="connsiteY0" fmla="*/ 0 h 1152"/>
              <a:gd name="connsiteX1" fmla="*/ 120 w 120"/>
              <a:gd name="connsiteY1" fmla="*/ 0 h 1152"/>
              <a:gd name="connsiteX2" fmla="*/ 120 w 120"/>
              <a:gd name="connsiteY2" fmla="*/ 525 h 1152"/>
              <a:gd name="connsiteX3" fmla="*/ 115 w 120"/>
              <a:gd name="connsiteY3" fmla="*/ 576 h 1152"/>
              <a:gd name="connsiteX4" fmla="*/ 65 w 120"/>
              <a:gd name="connsiteY4" fmla="*/ 624 h 1152"/>
              <a:gd name="connsiteX5" fmla="*/ 65 w 120"/>
              <a:gd name="connsiteY5" fmla="*/ 1152 h 1152"/>
              <a:gd name="connsiteX6" fmla="*/ 0 w 120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65 w 212"/>
              <a:gd name="connsiteY4" fmla="*/ 624 h 1152"/>
              <a:gd name="connsiteX5" fmla="*/ 65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65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0" fmla="*/ 0 w 212"/>
              <a:gd name="connsiteY0" fmla="*/ 0 h 620"/>
              <a:gd name="connsiteX1" fmla="*/ 120 w 212"/>
              <a:gd name="connsiteY1" fmla="*/ 0 h 620"/>
              <a:gd name="connsiteX2" fmla="*/ 120 w 212"/>
              <a:gd name="connsiteY2" fmla="*/ 532 h 620"/>
              <a:gd name="connsiteX3" fmla="*/ 212 w 212"/>
              <a:gd name="connsiteY3" fmla="*/ 576 h 620"/>
              <a:gd name="connsiteX4" fmla="*/ 120 w 212"/>
              <a:gd name="connsiteY4" fmla="*/ 620 h 620"/>
              <a:gd name="connsiteX0" fmla="*/ 0 w 212"/>
              <a:gd name="connsiteY0" fmla="*/ 0 h 576"/>
              <a:gd name="connsiteX1" fmla="*/ 120 w 212"/>
              <a:gd name="connsiteY1" fmla="*/ 0 h 576"/>
              <a:gd name="connsiteX2" fmla="*/ 120 w 212"/>
              <a:gd name="connsiteY2" fmla="*/ 532 h 576"/>
              <a:gd name="connsiteX3" fmla="*/ 212 w 212"/>
              <a:gd name="connsiteY3" fmla="*/ 576 h 576"/>
              <a:gd name="connsiteX0" fmla="*/ 0 w 120"/>
              <a:gd name="connsiteY0" fmla="*/ 0 h 532"/>
              <a:gd name="connsiteX1" fmla="*/ 120 w 120"/>
              <a:gd name="connsiteY1" fmla="*/ 0 h 532"/>
              <a:gd name="connsiteX2" fmla="*/ 120 w 120"/>
              <a:gd name="connsiteY2" fmla="*/ 532 h 532"/>
              <a:gd name="connsiteX0" fmla="*/ 0 w 120"/>
              <a:gd name="connsiteY0" fmla="*/ 0 h 0"/>
              <a:gd name="connsiteX1" fmla="*/ 120 w 120"/>
              <a:gd name="connsiteY1" fmla="*/ 0 h 0"/>
              <a:gd name="connsiteX0" fmla="*/ 0 w 3221"/>
              <a:gd name="connsiteY0" fmla="*/ 3155951 h 3155951"/>
              <a:gd name="connsiteX1" fmla="*/ 3221 w 3221"/>
              <a:gd name="connsiteY1" fmla="*/ 0 h 3155951"/>
              <a:gd name="connsiteX0" fmla="*/ 0 w 3221"/>
              <a:gd name="connsiteY0" fmla="*/ 3155951 h 3155951"/>
              <a:gd name="connsiteX1" fmla="*/ 3221 w 3221"/>
              <a:gd name="connsiteY1" fmla="*/ 0 h 3155951"/>
              <a:gd name="connsiteX2" fmla="*/ 102 w 3221"/>
              <a:gd name="connsiteY2" fmla="*/ 3155951 h 3155951"/>
              <a:gd name="connsiteX0" fmla="*/ 0 w 3221"/>
              <a:gd name="connsiteY0" fmla="*/ 3155951 h 3994151"/>
              <a:gd name="connsiteX1" fmla="*/ 3221 w 3221"/>
              <a:gd name="connsiteY1" fmla="*/ 0 h 3994151"/>
              <a:gd name="connsiteX2" fmla="*/ 102 w 3221"/>
              <a:gd name="connsiteY2" fmla="*/ 3155951 h 3994151"/>
              <a:gd name="connsiteX3" fmla="*/ 102 w 3221"/>
              <a:gd name="connsiteY3" fmla="*/ 3994151 h 3994151"/>
              <a:gd name="connsiteX0" fmla="*/ 0 w 3221"/>
              <a:gd name="connsiteY0" fmla="*/ 3155951 h 4070351"/>
              <a:gd name="connsiteX1" fmla="*/ 3221 w 3221"/>
              <a:gd name="connsiteY1" fmla="*/ 0 h 4070351"/>
              <a:gd name="connsiteX2" fmla="*/ 102 w 3221"/>
              <a:gd name="connsiteY2" fmla="*/ 3155951 h 4070351"/>
              <a:gd name="connsiteX3" fmla="*/ 102 w 3221"/>
              <a:gd name="connsiteY3" fmla="*/ 3994151 h 4070351"/>
              <a:gd name="connsiteX4" fmla="*/ 180 w 3221"/>
              <a:gd name="connsiteY4" fmla="*/ 4070351 h 4070351"/>
              <a:gd name="connsiteX0" fmla="*/ 0 w 3221"/>
              <a:gd name="connsiteY0" fmla="*/ 3155951 h 4146551"/>
              <a:gd name="connsiteX1" fmla="*/ 3221 w 3221"/>
              <a:gd name="connsiteY1" fmla="*/ 0 h 4146551"/>
              <a:gd name="connsiteX2" fmla="*/ 102 w 3221"/>
              <a:gd name="connsiteY2" fmla="*/ 3155951 h 4146551"/>
              <a:gd name="connsiteX3" fmla="*/ 102 w 3221"/>
              <a:gd name="connsiteY3" fmla="*/ 3994151 h 4146551"/>
              <a:gd name="connsiteX4" fmla="*/ 180 w 3221"/>
              <a:gd name="connsiteY4" fmla="*/ 4070351 h 4146551"/>
              <a:gd name="connsiteX5" fmla="*/ 102 w 3221"/>
              <a:gd name="connsiteY5" fmla="*/ 4146551 h 41465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7" fmla="*/ 0 w 3221"/>
              <a:gd name="connsiteY7" fmla="*/ 4984751 h 49847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7" fmla="*/ 0 w 3221"/>
              <a:gd name="connsiteY7" fmla="*/ 4984751 h 4984751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0 h 1828800"/>
              <a:gd name="connsiteX3" fmla="*/ 102 w 180"/>
              <a:gd name="connsiteY3" fmla="*/ 838200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02 w 180"/>
              <a:gd name="connsiteY3" fmla="*/ 838200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94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94 w 180"/>
              <a:gd name="connsiteY1" fmla="*/ 0 h 1828800"/>
              <a:gd name="connsiteX2" fmla="*/ 94 w 180"/>
              <a:gd name="connsiteY2" fmla="*/ 846422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102 w 166"/>
              <a:gd name="connsiteY4" fmla="*/ 990599 h 1828800"/>
              <a:gd name="connsiteX5" fmla="*/ 102 w 166"/>
              <a:gd name="connsiteY5" fmla="*/ 1828799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102 w 166"/>
              <a:gd name="connsiteY5" fmla="*/ 1828799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800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0 w 166"/>
              <a:gd name="connsiteY5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0 w 166"/>
              <a:gd name="connsiteY4" fmla="*/ 1828800 h 1828800"/>
              <a:gd name="connsiteX0" fmla="*/ 0 w 94"/>
              <a:gd name="connsiteY0" fmla="*/ 0 h 1828800"/>
              <a:gd name="connsiteX1" fmla="*/ 94 w 94"/>
              <a:gd name="connsiteY1" fmla="*/ 0 h 1828800"/>
              <a:gd name="connsiteX2" fmla="*/ 94 w 94"/>
              <a:gd name="connsiteY2" fmla="*/ 846422 h 1828800"/>
              <a:gd name="connsiteX3" fmla="*/ 0 w 94"/>
              <a:gd name="connsiteY3" fmla="*/ 1828800 h 1828800"/>
              <a:gd name="connsiteX0" fmla="*/ 0 w 94"/>
              <a:gd name="connsiteY0" fmla="*/ 0 h 1828800"/>
              <a:gd name="connsiteX1" fmla="*/ 94 w 94"/>
              <a:gd name="connsiteY1" fmla="*/ 0 h 1828800"/>
              <a:gd name="connsiteX2" fmla="*/ 0 w 94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1387945"/>
              <a:gd name="connsiteY0" fmla="*/ 0 h 537010"/>
              <a:gd name="connsiteX1" fmla="*/ 1387945 w 1387945"/>
              <a:gd name="connsiteY1" fmla="*/ 537010 h 537010"/>
              <a:gd name="connsiteX0" fmla="*/ 0 w 1387945"/>
              <a:gd name="connsiteY0" fmla="*/ 0 h 537010"/>
              <a:gd name="connsiteX1" fmla="*/ 1387945 w 1387945"/>
              <a:gd name="connsiteY1" fmla="*/ 537010 h 537010"/>
              <a:gd name="connsiteX2" fmla="*/ 103188 w 1387945"/>
              <a:gd name="connsiteY2" fmla="*/ 0 h 537010"/>
              <a:gd name="connsiteX0" fmla="*/ 0 w 1387945"/>
              <a:gd name="connsiteY0" fmla="*/ 0 h 780130"/>
              <a:gd name="connsiteX1" fmla="*/ 1387945 w 1387945"/>
              <a:gd name="connsiteY1" fmla="*/ 537010 h 780130"/>
              <a:gd name="connsiteX2" fmla="*/ 103188 w 1387945"/>
              <a:gd name="connsiteY2" fmla="*/ 0 h 780130"/>
              <a:gd name="connsiteX3" fmla="*/ 103188 w 1387945"/>
              <a:gd name="connsiteY3" fmla="*/ 780130 h 780130"/>
              <a:gd name="connsiteX0" fmla="*/ 0 w 1387945"/>
              <a:gd name="connsiteY0" fmla="*/ 0 h 851050"/>
              <a:gd name="connsiteX1" fmla="*/ 1387945 w 1387945"/>
              <a:gd name="connsiteY1" fmla="*/ 537010 h 851050"/>
              <a:gd name="connsiteX2" fmla="*/ 103188 w 1387945"/>
              <a:gd name="connsiteY2" fmla="*/ 0 h 851050"/>
              <a:gd name="connsiteX3" fmla="*/ 103188 w 1387945"/>
              <a:gd name="connsiteY3" fmla="*/ 780130 h 851050"/>
              <a:gd name="connsiteX4" fmla="*/ 182563 w 1387945"/>
              <a:gd name="connsiteY4" fmla="*/ 851050 h 851050"/>
              <a:gd name="connsiteX0" fmla="*/ 0 w 1387945"/>
              <a:gd name="connsiteY0" fmla="*/ 0 h 921971"/>
              <a:gd name="connsiteX1" fmla="*/ 1387945 w 1387945"/>
              <a:gd name="connsiteY1" fmla="*/ 537010 h 921971"/>
              <a:gd name="connsiteX2" fmla="*/ 103188 w 1387945"/>
              <a:gd name="connsiteY2" fmla="*/ 0 h 921971"/>
              <a:gd name="connsiteX3" fmla="*/ 103188 w 1387945"/>
              <a:gd name="connsiteY3" fmla="*/ 780130 h 921971"/>
              <a:gd name="connsiteX4" fmla="*/ 182563 w 1387945"/>
              <a:gd name="connsiteY4" fmla="*/ 851050 h 921971"/>
              <a:gd name="connsiteX5" fmla="*/ 103188 w 1387945"/>
              <a:gd name="connsiteY5" fmla="*/ 921971 h 921971"/>
              <a:gd name="connsiteX0" fmla="*/ 0 w 1387945"/>
              <a:gd name="connsiteY0" fmla="*/ 0 h 1702101"/>
              <a:gd name="connsiteX1" fmla="*/ 1387945 w 1387945"/>
              <a:gd name="connsiteY1" fmla="*/ 537010 h 1702101"/>
              <a:gd name="connsiteX2" fmla="*/ 103188 w 1387945"/>
              <a:gd name="connsiteY2" fmla="*/ 0 h 1702101"/>
              <a:gd name="connsiteX3" fmla="*/ 103188 w 1387945"/>
              <a:gd name="connsiteY3" fmla="*/ 780130 h 1702101"/>
              <a:gd name="connsiteX4" fmla="*/ 182563 w 1387945"/>
              <a:gd name="connsiteY4" fmla="*/ 851050 h 1702101"/>
              <a:gd name="connsiteX5" fmla="*/ 103188 w 1387945"/>
              <a:gd name="connsiteY5" fmla="*/ 921971 h 1702101"/>
              <a:gd name="connsiteX6" fmla="*/ 103188 w 1387945"/>
              <a:gd name="connsiteY6" fmla="*/ 1702101 h 1702101"/>
              <a:gd name="connsiteX0" fmla="*/ 0 w 1387945"/>
              <a:gd name="connsiteY0" fmla="*/ 0 h 1702101"/>
              <a:gd name="connsiteX1" fmla="*/ 1387945 w 1387945"/>
              <a:gd name="connsiteY1" fmla="*/ 537010 h 1702101"/>
              <a:gd name="connsiteX2" fmla="*/ 103188 w 1387945"/>
              <a:gd name="connsiteY2" fmla="*/ 0 h 1702101"/>
              <a:gd name="connsiteX3" fmla="*/ 103188 w 1387945"/>
              <a:gd name="connsiteY3" fmla="*/ 780130 h 1702101"/>
              <a:gd name="connsiteX4" fmla="*/ 182563 w 1387945"/>
              <a:gd name="connsiteY4" fmla="*/ 851050 h 1702101"/>
              <a:gd name="connsiteX5" fmla="*/ 103188 w 1387945"/>
              <a:gd name="connsiteY5" fmla="*/ 921971 h 1702101"/>
              <a:gd name="connsiteX6" fmla="*/ 103188 w 1387945"/>
              <a:gd name="connsiteY6" fmla="*/ 1702101 h 1702101"/>
              <a:gd name="connsiteX7" fmla="*/ 1 w 1387945"/>
              <a:gd name="connsiteY7" fmla="*/ 1702101 h 1702101"/>
              <a:gd name="connsiteX0" fmla="*/ 0 w 1387944"/>
              <a:gd name="connsiteY0" fmla="*/ 0 h 1702102"/>
              <a:gd name="connsiteX1" fmla="*/ 1387944 w 1387944"/>
              <a:gd name="connsiteY1" fmla="*/ 537011 h 1702102"/>
              <a:gd name="connsiteX2" fmla="*/ 103187 w 1387944"/>
              <a:gd name="connsiteY2" fmla="*/ 1 h 1702102"/>
              <a:gd name="connsiteX3" fmla="*/ 103187 w 1387944"/>
              <a:gd name="connsiteY3" fmla="*/ 780131 h 1702102"/>
              <a:gd name="connsiteX4" fmla="*/ 182562 w 1387944"/>
              <a:gd name="connsiteY4" fmla="*/ 851051 h 1702102"/>
              <a:gd name="connsiteX5" fmla="*/ 103187 w 1387944"/>
              <a:gd name="connsiteY5" fmla="*/ 921972 h 1702102"/>
              <a:gd name="connsiteX6" fmla="*/ 103187 w 1387944"/>
              <a:gd name="connsiteY6" fmla="*/ 1702102 h 1702102"/>
              <a:gd name="connsiteX7" fmla="*/ 0 w 1387944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7 w 182562"/>
              <a:gd name="connsiteY2" fmla="*/ 1 h 1702102"/>
              <a:gd name="connsiteX3" fmla="*/ 103187 w 182562"/>
              <a:gd name="connsiteY3" fmla="*/ 78013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6 w 182562"/>
              <a:gd name="connsiteY2" fmla="*/ 780130 h 1702102"/>
              <a:gd name="connsiteX3" fmla="*/ 103187 w 182562"/>
              <a:gd name="connsiteY3" fmla="*/ 78013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6 w 182562"/>
              <a:gd name="connsiteY2" fmla="*/ 780130 h 1702102"/>
              <a:gd name="connsiteX3" fmla="*/ 182561 w 182562"/>
              <a:gd name="connsiteY3" fmla="*/ 85105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921972 h 1702102"/>
              <a:gd name="connsiteX6" fmla="*/ 103187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103187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95211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95211 w 182561"/>
              <a:gd name="connsiteY1" fmla="*/ 0 h 1702102"/>
              <a:gd name="connsiteX2" fmla="*/ 95211 w 182561"/>
              <a:gd name="connsiteY2" fmla="*/ 787794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103186 w 168450"/>
              <a:gd name="connsiteY4" fmla="*/ 921972 h 1702102"/>
              <a:gd name="connsiteX5" fmla="*/ 103187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103187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1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0 w 168450"/>
              <a:gd name="connsiteY6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0 w 168450"/>
              <a:gd name="connsiteY5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0 w 168450"/>
              <a:gd name="connsiteY4" fmla="*/ 1702102 h 1702102"/>
              <a:gd name="connsiteX0" fmla="*/ 0 w 95211"/>
              <a:gd name="connsiteY0" fmla="*/ 0 h 1702102"/>
              <a:gd name="connsiteX1" fmla="*/ 95211 w 95211"/>
              <a:gd name="connsiteY1" fmla="*/ 0 h 1702102"/>
              <a:gd name="connsiteX2" fmla="*/ 95211 w 95211"/>
              <a:gd name="connsiteY2" fmla="*/ 787794 h 1702102"/>
              <a:gd name="connsiteX3" fmla="*/ 0 w 95211"/>
              <a:gd name="connsiteY3" fmla="*/ 1702102 h 1702102"/>
              <a:gd name="connsiteX0" fmla="*/ 0 w 95211"/>
              <a:gd name="connsiteY0" fmla="*/ 0 h 1702102"/>
              <a:gd name="connsiteX1" fmla="*/ 95211 w 95211"/>
              <a:gd name="connsiteY1" fmla="*/ 0 h 1702102"/>
              <a:gd name="connsiteX2" fmla="*/ 0 w 95211"/>
              <a:gd name="connsiteY2" fmla="*/ 1702102 h 1702102"/>
              <a:gd name="connsiteX0" fmla="*/ 0 w 0"/>
              <a:gd name="connsiteY0" fmla="*/ 0 h 1702102"/>
              <a:gd name="connsiteX1" fmla="*/ 0 w 0"/>
              <a:gd name="connsiteY1" fmla="*/ 1702102 h 1702102"/>
              <a:gd name="connsiteX0" fmla="*/ 0 w 23957"/>
              <a:gd name="connsiteY0" fmla="*/ 0 h 1681349"/>
              <a:gd name="connsiteX1" fmla="*/ 23957 w 23957"/>
              <a:gd name="connsiteY1" fmla="*/ 1681349 h 1681349"/>
              <a:gd name="connsiteX0" fmla="*/ 0 w 103189"/>
              <a:gd name="connsiteY0" fmla="*/ 1 h 1681350"/>
              <a:gd name="connsiteX1" fmla="*/ 23957 w 103189"/>
              <a:gd name="connsiteY1" fmla="*/ 1681350 h 1681350"/>
              <a:gd name="connsiteX2" fmla="*/ 103189 w 103189"/>
              <a:gd name="connsiteY2" fmla="*/ 0 h 1681350"/>
              <a:gd name="connsiteX0" fmla="*/ 0 w 103189"/>
              <a:gd name="connsiteY0" fmla="*/ 1 h 1681350"/>
              <a:gd name="connsiteX1" fmla="*/ 23957 w 103189"/>
              <a:gd name="connsiteY1" fmla="*/ 1681350 h 1681350"/>
              <a:gd name="connsiteX2" fmla="*/ 103189 w 103189"/>
              <a:gd name="connsiteY2" fmla="*/ 0 h 1681350"/>
              <a:gd name="connsiteX3" fmla="*/ 103189 w 103189"/>
              <a:gd name="connsiteY3" fmla="*/ 726085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7" fmla="*/ 0 w 182564"/>
              <a:gd name="connsiteY7" fmla="*/ 1584184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7" fmla="*/ 0 w 182564"/>
              <a:gd name="connsiteY7" fmla="*/ 1584184 h 1681350"/>
              <a:gd name="connsiteX0" fmla="*/ 0 w 182564"/>
              <a:gd name="connsiteY0" fmla="*/ 1 h 1584184"/>
              <a:gd name="connsiteX1" fmla="*/ 103188 w 182564"/>
              <a:gd name="connsiteY1" fmla="*/ 1 h 1584184"/>
              <a:gd name="connsiteX2" fmla="*/ 103189 w 182564"/>
              <a:gd name="connsiteY2" fmla="*/ 0 h 1584184"/>
              <a:gd name="connsiteX3" fmla="*/ 103189 w 182564"/>
              <a:gd name="connsiteY3" fmla="*/ 726085 h 1584184"/>
              <a:gd name="connsiteX4" fmla="*/ 182564 w 182564"/>
              <a:gd name="connsiteY4" fmla="*/ 792092 h 1584184"/>
              <a:gd name="connsiteX5" fmla="*/ 103188 w 182564"/>
              <a:gd name="connsiteY5" fmla="*/ 858100 h 1584184"/>
              <a:gd name="connsiteX6" fmla="*/ 103188 w 182564"/>
              <a:gd name="connsiteY6" fmla="*/ 1584184 h 1584184"/>
              <a:gd name="connsiteX7" fmla="*/ 0 w 182564"/>
              <a:gd name="connsiteY7" fmla="*/ 1584184 h 1584184"/>
              <a:gd name="connsiteX0" fmla="*/ 0 w 182564"/>
              <a:gd name="connsiteY0" fmla="*/ 0 h 1584183"/>
              <a:gd name="connsiteX1" fmla="*/ 103188 w 182564"/>
              <a:gd name="connsiteY1" fmla="*/ 0 h 1584183"/>
              <a:gd name="connsiteX2" fmla="*/ 103188 w 182564"/>
              <a:gd name="connsiteY2" fmla="*/ 726084 h 1584183"/>
              <a:gd name="connsiteX3" fmla="*/ 103189 w 182564"/>
              <a:gd name="connsiteY3" fmla="*/ 726084 h 1584183"/>
              <a:gd name="connsiteX4" fmla="*/ 182564 w 182564"/>
              <a:gd name="connsiteY4" fmla="*/ 792091 h 1584183"/>
              <a:gd name="connsiteX5" fmla="*/ 103188 w 182564"/>
              <a:gd name="connsiteY5" fmla="*/ 858099 h 1584183"/>
              <a:gd name="connsiteX6" fmla="*/ 103188 w 182564"/>
              <a:gd name="connsiteY6" fmla="*/ 1584183 h 1584183"/>
              <a:gd name="connsiteX7" fmla="*/ 0 w 182564"/>
              <a:gd name="connsiteY7" fmla="*/ 1584183 h 1584183"/>
              <a:gd name="connsiteX0" fmla="*/ 0 w 182564"/>
              <a:gd name="connsiteY0" fmla="*/ 0 h 1584183"/>
              <a:gd name="connsiteX1" fmla="*/ 103188 w 182564"/>
              <a:gd name="connsiteY1" fmla="*/ 0 h 1584183"/>
              <a:gd name="connsiteX2" fmla="*/ 103188 w 182564"/>
              <a:gd name="connsiteY2" fmla="*/ 726084 h 1584183"/>
              <a:gd name="connsiteX3" fmla="*/ 182563 w 182564"/>
              <a:gd name="connsiteY3" fmla="*/ 792091 h 1584183"/>
              <a:gd name="connsiteX4" fmla="*/ 182564 w 182564"/>
              <a:gd name="connsiteY4" fmla="*/ 792091 h 1584183"/>
              <a:gd name="connsiteX5" fmla="*/ 103188 w 182564"/>
              <a:gd name="connsiteY5" fmla="*/ 858099 h 1584183"/>
              <a:gd name="connsiteX6" fmla="*/ 103188 w 182564"/>
              <a:gd name="connsiteY6" fmla="*/ 1584183 h 1584183"/>
              <a:gd name="connsiteX7" fmla="*/ 0 w 182564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8 w 182563"/>
              <a:gd name="connsiteY5" fmla="*/ 858099 h 1584183"/>
              <a:gd name="connsiteX6" fmla="*/ 103188 w 182563"/>
              <a:gd name="connsiteY6" fmla="*/ 1584183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03188 w 182563"/>
              <a:gd name="connsiteY6" fmla="*/ 1584183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95211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95211 w 182563"/>
              <a:gd name="connsiteY1" fmla="*/ 0 h 1584183"/>
              <a:gd name="connsiteX2" fmla="*/ 95211 w 182563"/>
              <a:gd name="connsiteY2" fmla="*/ 733217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103188 w 168450"/>
              <a:gd name="connsiteY4" fmla="*/ 858098 h 1584183"/>
              <a:gd name="connsiteX5" fmla="*/ 103189 w 168450"/>
              <a:gd name="connsiteY5" fmla="*/ 1584182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103189 w 168450"/>
              <a:gd name="connsiteY5" fmla="*/ 1584182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95212 w 168450"/>
              <a:gd name="connsiteY5" fmla="*/ 1584183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95212 w 168450"/>
              <a:gd name="connsiteY5" fmla="*/ 1584183 h 1584183"/>
              <a:gd name="connsiteX6" fmla="*/ 1 w 168450"/>
              <a:gd name="connsiteY6" fmla="*/ 1584183 h 1584183"/>
              <a:gd name="connsiteX7" fmla="*/ 0 w 168450"/>
              <a:gd name="connsiteY7" fmla="*/ 1584183 h 158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8450" h="1584183">
                <a:moveTo>
                  <a:pt x="0" y="0"/>
                </a:moveTo>
                <a:lnTo>
                  <a:pt x="95211" y="0"/>
                </a:lnTo>
                <a:lnTo>
                  <a:pt x="95211" y="733217"/>
                </a:lnTo>
                <a:lnTo>
                  <a:pt x="168450" y="792092"/>
                </a:lnTo>
                <a:lnTo>
                  <a:pt x="95212" y="850966"/>
                </a:lnTo>
                <a:lnTo>
                  <a:pt x="95212" y="1584183"/>
                </a:lnTo>
                <a:lnTo>
                  <a:pt x="1" y="1584183"/>
                </a:lnTo>
                <a:lnTo>
                  <a:pt x="0" y="1584183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cxnSp>
        <p:nvCxnSpPr>
          <p:cNvPr id="32" name="Straight Connector 31"/>
          <p:cNvCxnSpPr/>
          <p:nvPr>
            <p:custDataLst>
              <p:tags r:id="rId5"/>
            </p:custDataLst>
          </p:nvPr>
        </p:nvCxnSpPr>
        <p:spPr bwMode="auto">
          <a:xfrm>
            <a:off x="3533775" y="203835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6"/>
            </p:custDataLst>
          </p:nvPr>
        </p:nvCxnSpPr>
        <p:spPr bwMode="auto">
          <a:xfrm>
            <a:off x="3790950" y="49434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/>
          <p:cNvCxnSpPr/>
          <p:nvPr>
            <p:custDataLst>
              <p:tags r:id="rId7"/>
            </p:custDataLst>
          </p:nvPr>
        </p:nvCxnSpPr>
        <p:spPr bwMode="gray">
          <a:xfrm>
            <a:off x="3924300" y="3695700"/>
            <a:ext cx="0" cy="17811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>
            <a:off x="3810000" y="53625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9"/>
            </p:custDataLst>
          </p:nvPr>
        </p:nvCxnSpPr>
        <p:spPr bwMode="gray">
          <a:xfrm>
            <a:off x="3924300" y="577215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0"/>
            </p:custDataLst>
          </p:nvPr>
        </p:nvCxnSpPr>
        <p:spPr bwMode="auto">
          <a:xfrm>
            <a:off x="3505200" y="28670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>
            <p:custDataLst>
              <p:tags r:id="rId11"/>
            </p:custDataLst>
          </p:nvPr>
        </p:nvCxnSpPr>
        <p:spPr bwMode="auto">
          <a:xfrm>
            <a:off x="3524250" y="24479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2"/>
            </p:custDataLst>
          </p:nvPr>
        </p:nvCxnSpPr>
        <p:spPr bwMode="auto">
          <a:xfrm>
            <a:off x="3505200" y="32861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>
            <p:custDataLst>
              <p:tags r:id="rId13"/>
            </p:custDataLst>
          </p:nvPr>
        </p:nvCxnSpPr>
        <p:spPr bwMode="auto">
          <a:xfrm>
            <a:off x="3505200" y="369570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/>
          <p:nvPr>
            <p:custDataLst>
              <p:tags r:id="rId14"/>
            </p:custDataLst>
          </p:nvPr>
        </p:nvCxnSpPr>
        <p:spPr bwMode="auto">
          <a:xfrm>
            <a:off x="3714750" y="45243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15"/>
            </p:custDataLst>
          </p:nvPr>
        </p:nvCxnSpPr>
        <p:spPr bwMode="auto">
          <a:xfrm>
            <a:off x="3629025" y="411480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>
            <p:custDataLst>
              <p:tags r:id="rId16"/>
            </p:custDataLst>
          </p:nvPr>
        </p:nvSpPr>
        <p:spPr bwMode="auto">
          <a:xfrm>
            <a:off x="3502025" y="2981325"/>
            <a:ext cx="6350" cy="304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>
            <p:custDataLst>
              <p:tags r:id="rId17"/>
            </p:custDataLst>
          </p:nvPr>
        </p:nvSpPr>
        <p:spPr bwMode="auto">
          <a:xfrm>
            <a:off x="3524250" y="2152650"/>
            <a:ext cx="9525" cy="2952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47" name="Object 62"/>
          <p:cNvGraphicFramePr>
            <a:graphicFrameLocks/>
          </p:cNvGraphicFramePr>
          <p:nvPr>
            <p:custDataLst>
              <p:tags r:id="rId18"/>
            </p:custDataLst>
            <p:extLst/>
          </p:nvPr>
        </p:nvGraphicFramePr>
        <p:xfrm>
          <a:off x="1562100" y="1562100"/>
          <a:ext cx="2695658" cy="4791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1" name="Chart" r:id="rId91" imgW="2692203" imgH="4787988" progId="MSGraph.Chart.8">
                  <p:embed followColorScheme="full"/>
                </p:oleObj>
              </mc:Choice>
              <mc:Fallback>
                <p:oleObj name="Chart" r:id="rId91" imgW="2692203" imgH="4787988" progId="MSGraph.Chart.8">
                  <p:embed followColorScheme="full"/>
                  <p:pic>
                    <p:nvPicPr>
                      <p:cNvPr id="47" name="Object 62"/>
                      <p:cNvPicPr>
                        <a:picLocks noChangeArrowheads="1"/>
                      </p:cNvPicPr>
                      <p:nvPr/>
                    </p:nvPicPr>
                    <p:blipFill>
                      <a:blip r:embed="rId92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562100" y="1562100"/>
                        <a:ext cx="2695658" cy="47912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1" name="Straight Connector 170"/>
          <p:cNvCxnSpPr/>
          <p:nvPr>
            <p:custDataLst>
              <p:tags r:id="rId19"/>
            </p:custDataLst>
          </p:nvPr>
        </p:nvCxnSpPr>
        <p:spPr bwMode="gray">
          <a:xfrm flipH="1">
            <a:off x="3514725" y="2714625"/>
            <a:ext cx="34925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/>
          <p:cNvCxnSpPr/>
          <p:nvPr>
            <p:custDataLst>
              <p:tags r:id="rId20"/>
            </p:custDataLst>
          </p:nvPr>
        </p:nvCxnSpPr>
        <p:spPr bwMode="gray">
          <a:xfrm flipH="1">
            <a:off x="3529013" y="2300288"/>
            <a:ext cx="30163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21"/>
            </p:custDataLst>
          </p:nvPr>
        </p:nvCxnSpPr>
        <p:spPr bwMode="gray">
          <a:xfrm flipH="1">
            <a:off x="3505200" y="3133725"/>
            <a:ext cx="254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429000" y="3840163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F4BB8E-33BC-431F-B514-4D167266F023}" type="datetime'''''''''''''''''''''''''''''''''''''''3''''7'''''''''''''">
              <a:rPr lang="en-US" altLang="en-US" b="1">
                <a:latin typeface="+mn-lt"/>
                <a:ea typeface="+mn-ea"/>
                <a:cs typeface="+mn-cs"/>
                <a:sym typeface="+mn-lt"/>
              </a:rPr>
              <a:pPr/>
              <a:t>37</a:t>
            </a:fld>
            <a:endParaRPr lang="en-US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76225" y="5087938"/>
            <a:ext cx="1060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2D7D5B-2451-4E0B-96C0-F08A7D0637F5}" type="datetime'''M''''id''''''''''''''''d''''le ''''''''''E''a''s''''t'''''">
              <a:rPr lang="en-US" altLang="en-US">
                <a:sym typeface="+mn-lt"/>
              </a:rPr>
              <a:pPr/>
              <a:t>Middle East</a:t>
            </a:fld>
            <a:endParaRPr lang="en-US" dirty="0">
              <a:sym typeface="+mn-lt"/>
            </a:endParaRPr>
          </a:p>
        </p:txBody>
      </p:sp>
      <p:sp>
        <p:nvSpPr>
          <p:cNvPr id="61" name="Rectangle 6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76225" y="4254500"/>
            <a:ext cx="528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6D58F996-47BE-4EE7-96DF-04441F7050D4}" type="datetime'''C''''''''h''''''''''''''''''in''''''''''''''''''a'''''''">
              <a:rPr lang="en-US" altLang="en-US">
                <a:latin typeface="+mn-lt"/>
                <a:sym typeface="+mn-lt"/>
              </a:rPr>
              <a:pPr/>
              <a:t>China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05" name="Text Placeholder 8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76225" y="3425825"/>
            <a:ext cx="10255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C8CB62-B1BF-4697-B5A4-96E6715F417B}" type="datetime'N''o''n''''''-''''''''O''''''''''''EC''''D'''''">
              <a:rPr lang="en-US">
                <a:sym typeface="+mn-lt"/>
              </a:rPr>
              <a:pPr/>
              <a:t>Non-OECD</a:t>
            </a:fld>
            <a:endParaRPr lang="en-US" dirty="0">
              <a:sym typeface="+mn-lt"/>
            </a:endParaRPr>
          </a:p>
        </p:txBody>
      </p:sp>
      <p:sp>
        <p:nvSpPr>
          <p:cNvPr id="218" name="Text Placeholder 11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549650" y="2592388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84CC698-C1CA-4342-BCAF-87697335024E}" type="datetime'''''''''''''''''''''''''''''''''''''''''''''''''''''-4'">
              <a:rPr lang="en-US" altLang="en-US">
                <a:sym typeface="+mn-lt"/>
              </a:rPr>
              <a:pPr/>
              <a:t>-4</a:t>
            </a:fld>
            <a:endParaRPr lang="en-US" dirty="0">
              <a:sym typeface="+mn-lt"/>
            </a:endParaRPr>
          </a:p>
        </p:txBody>
      </p:sp>
      <p:sp>
        <p:nvSpPr>
          <p:cNvPr id="122" name="Text Placeholder 5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6225" y="3011488"/>
            <a:ext cx="11525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0EBEE48-11F0-4954-8C46-7D985DFD463A}" type="datetime'O''''''t''''he''r'''''''''''' OE''''''''''''''''C''''''D'''''">
              <a:rPr lang="en-US">
                <a:latin typeface="+mn-lt"/>
                <a:ea typeface="+mn-ea"/>
                <a:cs typeface="+mn-cs"/>
                <a:sym typeface="+mn-lt"/>
              </a:rPr>
              <a:pPr/>
              <a:t>Other OECD</a:t>
            </a:fld>
            <a:endParaRPr lang="en-GB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5" name="Text Placeholder 8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76225" y="2178050"/>
            <a:ext cx="1287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34D81C2-81E5-4872-AA30-B3139836E896}" type="datetime'''North'''' ''''''A''''''me''''''r''i''''''ca'''''''">
              <a:rPr lang="en-US">
                <a:sym typeface="+mn-lt"/>
              </a:rPr>
              <a:pPr/>
              <a:t>North America</a:t>
            </a:fld>
            <a:endParaRPr lang="en-US" dirty="0">
              <a:sym typeface="+mn-lt"/>
            </a:endParaRPr>
          </a:p>
        </p:txBody>
      </p:sp>
      <p:sp>
        <p:nvSpPr>
          <p:cNvPr id="119" name="Text Placeholder 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614738" y="4668838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EDE9879-A882-4D6B-88E3-CCD6A230EE05}" type="datetime'''''''''''''''''''''''2''''''''''''''3'''''''''''''''">
              <a:rPr lang="en-US" altLang="en-US" b="1">
                <a:latin typeface="+mn-lt"/>
                <a:ea typeface="+mn-ea"/>
                <a:cs typeface="+mn-cs"/>
                <a:sym typeface="+mn-lt"/>
              </a:rPr>
              <a:pPr/>
              <a:t>23</a:t>
            </a:fld>
            <a:endParaRPr lang="en-GB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0" name="Rectangle 81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276225" y="4668838"/>
            <a:ext cx="5191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D4345849-86DC-4056-B9AE-6B971963B749}" type="datetime'''''''''''Af''''''''''''r''i''''''c''''''''''a'''''''''">
              <a:rPr lang="en-US" altLang="en-US">
                <a:latin typeface="+mn-lt"/>
                <a:sym typeface="+mn-lt"/>
              </a:rPr>
              <a:pPr/>
              <a:t>Africa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00" name="Text Placeholder 8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76225" y="2592388"/>
            <a:ext cx="6540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E8CA821-C739-4B60-B931-F7A77C8E5B1F}" type="datetime'''E''''''''''''u''''r''o''''''''p''''''''''''''''''''e'''''">
              <a:rPr lang="en-US">
                <a:sym typeface="+mn-lt"/>
              </a:rPr>
              <a:pPr/>
              <a:t>Europe</a:t>
            </a:fld>
            <a:endParaRPr lang="en-US" dirty="0">
              <a:sym typeface="+mn-lt"/>
            </a:endParaRPr>
          </a:p>
        </p:txBody>
      </p:sp>
      <p:sp>
        <p:nvSpPr>
          <p:cNvPr id="58" name="Text Placeholder 15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76225" y="5916613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163961-29CE-4D2E-AC57-15FFF096243C}" type="datetime'''''''2''''''''03''''''''''''''''''''''''''''''''''''''5'''">
              <a:rPr lang="en-US" b="1">
                <a:solidFill>
                  <a:schemeClr val="accent2"/>
                </a:solidFill>
                <a:sym typeface="+mn-lt"/>
              </a:rPr>
              <a:pPr/>
              <a:t>2035</a:t>
            </a:fld>
            <a:endParaRPr lang="en-US" b="1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217" name="Text Placeholder 11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559175" y="2178050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229F81F-4AD5-4EC3-8DE9-CFB650F247F2}" type="datetime'''''''''''''''''''''''-''''''''''''''''''''''''''''''''3'''">
              <a:rPr lang="en-US" altLang="en-US">
                <a:sym typeface="+mn-lt"/>
              </a:rPr>
              <a:pPr/>
              <a:t>-3</a:t>
            </a:fld>
            <a:endParaRPr lang="en-US" dirty="0">
              <a:sym typeface="+mn-lt"/>
            </a:endParaRPr>
          </a:p>
        </p:txBody>
      </p:sp>
      <p:sp>
        <p:nvSpPr>
          <p:cNvPr id="220" name="Text Placeholder 11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559175" y="1763713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4F7444B-6869-4F01-B097-5EB3C6AC4779}" type="datetime'''5''''''''''''''6''6'''''''">
              <a:rPr lang="en-US" altLang="en-US" b="1">
                <a:solidFill>
                  <a:schemeClr val="accent2"/>
                </a:solidFill>
                <a:sym typeface="+mn-lt"/>
              </a:rPr>
              <a:pPr/>
              <a:t>566</a:t>
            </a:fld>
            <a:endParaRPr lang="en-US" b="1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118" name="Text Placeholder 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729038" y="5502275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EB0E7AB-1871-437F-9A70-E14C307AAA62}" type="datetime'''''3''5'''''''''''''''''''''''''''''''''''''''">
              <a:rPr lang="en-US" altLang="en-US" b="1">
                <a:latin typeface="+mn-lt"/>
                <a:ea typeface="+mn-ea"/>
                <a:cs typeface="+mn-cs"/>
                <a:sym typeface="+mn-lt"/>
              </a:rPr>
              <a:pPr/>
              <a:t>35</a:t>
            </a:fld>
            <a:endParaRPr lang="en-GB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0" name="Text Placeholder 4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949700" y="5916613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0441558-A09B-4154-96ED-11DE30187CA6}" type="datetime'''''6''''''''''''8''''''''''''''''''''3'''''''">
              <a:rPr lang="en-US" altLang="en-US" b="1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pPr/>
              <a:t>683</a:t>
            </a:fld>
            <a:endParaRPr lang="en-GB" b="1" dirty="0">
              <a:solidFill>
                <a:schemeClr val="accent2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3" name="Text Placeholder 7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3530600" y="301148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61509639-AD62-4C63-9E62-AD3C80B3E034}" type="datetime'''''0''''''''''''''''''''''''''''''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0</a:t>
            </a:fld>
            <a:endParaRPr lang="en-GB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3" name="Rectangle 72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276225" y="1763713"/>
            <a:ext cx="4508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91F16E61-FE5E-464E-B329-A61F699D963D}" type="datetime'2''''''''''''''0''''''''''''''1''''''''''''4'''''''''''''''''">
              <a:rPr lang="en-US" altLang="en-US" b="1">
                <a:solidFill>
                  <a:schemeClr val="accent2"/>
                </a:solidFill>
                <a:latin typeface="+mn-lt"/>
                <a:sym typeface="+mn-lt"/>
              </a:rPr>
              <a:pPr/>
              <a:t>2014</a:t>
            </a:fld>
            <a:endParaRPr lang="en-US" b="1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115" name="Text Placeholder 75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719513" y="5087938"/>
            <a:ext cx="163513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396B9EF-0ED1-4ED8-AC0C-89C6D44866C5}" type="datetime'''''''''''6'''''''''''''">
              <a:rPr lang="en-US" altLang="en-US" b="1">
                <a:latin typeface="+mn-lt"/>
                <a:ea typeface="+mn-ea"/>
                <a:cs typeface="+mn-cs"/>
                <a:sym typeface="+mn-lt"/>
              </a:rPr>
              <a:pPr/>
              <a:t>6</a:t>
            </a:fld>
            <a:endParaRPr lang="en-US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6" name="Rectangle 75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276225" y="5502275"/>
            <a:ext cx="5095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409CC64A-4C33-49F8-B80C-3C641A0445B2}" type="datetime'''''O''''''''''''t''''''''''''''''''''''''he''''''''''r'''">
              <a:rPr lang="en-US">
                <a:latin typeface="+mn-lt"/>
                <a:sym typeface="+mn-lt"/>
              </a:rPr>
              <a:pPr/>
              <a:t>Other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3533775" y="4254500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9D59BC6-EECE-4A54-A053-09E9F0CE2A9E}" type="datetime'''''''''''''''''''''''''''''''''''''''2''''3'''''''''''''">
              <a:rPr lang="en-US" altLang="en-US" b="1">
                <a:latin typeface="+mn-lt"/>
                <a:ea typeface="+mn-ea"/>
                <a:cs typeface="+mn-cs"/>
                <a:sym typeface="+mn-lt"/>
              </a:rPr>
              <a:pPr/>
              <a:t>23</a:t>
            </a:fld>
            <a:endParaRPr lang="en-US" b="1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949700" y="3425825"/>
            <a:ext cx="3889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CE21630-4562-44FD-98D4-9732E6D2F6B0}" type="datetime'''''''''1''''''''''''''''''2''''''5'''''''''''''''''''''''">
              <a:rPr lang="en-US" altLang="en-US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25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9" name="Rectangle 6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276225" y="3840163"/>
            <a:ext cx="4397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D71B4E7B-390E-487A-9BAE-32091DB0C225}" type="datetime'''''I''''''n''d''''''''''''''''''i''''''''''a'''''''''''''''''">
              <a:rPr lang="en-US" altLang="en-US">
                <a:latin typeface="+mn-lt"/>
                <a:sym typeface="+mn-lt"/>
              </a:rPr>
              <a:pPr/>
              <a:t>India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84" name="Title 83"/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ll energy demand growth comes from non-OECD markets,</a:t>
            </a:r>
            <a:br>
              <a:rPr lang="en-US" dirty="0"/>
            </a:br>
            <a:r>
              <a:rPr lang="en-US" dirty="0"/>
              <a:t>OECD demand declines</a:t>
            </a:r>
          </a:p>
        </p:txBody>
      </p:sp>
      <p:cxnSp>
        <p:nvCxnSpPr>
          <p:cNvPr id="20" name="Straight Connector 19"/>
          <p:cNvCxnSpPr/>
          <p:nvPr>
            <p:custDataLst>
              <p:tags r:id="rId44"/>
            </p:custDataLst>
          </p:nvPr>
        </p:nvCxnSpPr>
        <p:spPr bwMode="auto">
          <a:xfrm>
            <a:off x="9963150" y="49434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45"/>
            </p:custDataLst>
          </p:nvPr>
        </p:nvCxnSpPr>
        <p:spPr bwMode="auto">
          <a:xfrm>
            <a:off x="9886950" y="411480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>
            <p:custDataLst>
              <p:tags r:id="rId46"/>
            </p:custDataLst>
          </p:nvPr>
        </p:nvCxnSpPr>
        <p:spPr bwMode="gray">
          <a:xfrm>
            <a:off x="10039350" y="5772150"/>
            <a:ext cx="0" cy="1143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>
            <p:custDataLst>
              <p:tags r:id="rId47"/>
            </p:custDataLst>
          </p:nvPr>
        </p:nvCxnSpPr>
        <p:spPr bwMode="gray">
          <a:xfrm>
            <a:off x="10039350" y="3695700"/>
            <a:ext cx="0" cy="17811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/>
          <p:nvPr>
            <p:custDataLst>
              <p:tags r:id="rId48"/>
            </p:custDataLst>
          </p:nvPr>
        </p:nvCxnSpPr>
        <p:spPr bwMode="auto">
          <a:xfrm>
            <a:off x="9820275" y="203835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/>
          <p:nvPr>
            <p:custDataLst>
              <p:tags r:id="rId49"/>
            </p:custDataLst>
          </p:nvPr>
        </p:nvCxnSpPr>
        <p:spPr bwMode="auto">
          <a:xfrm>
            <a:off x="9896475" y="45243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/>
          <p:nvPr>
            <p:custDataLst>
              <p:tags r:id="rId50"/>
            </p:custDataLst>
          </p:nvPr>
        </p:nvCxnSpPr>
        <p:spPr bwMode="auto">
          <a:xfrm>
            <a:off x="9972675" y="536257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/>
          <p:nvPr>
            <p:custDataLst>
              <p:tags r:id="rId51"/>
            </p:custDataLst>
          </p:nvPr>
        </p:nvCxnSpPr>
        <p:spPr bwMode="auto">
          <a:xfrm>
            <a:off x="9820275" y="24479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52"/>
            </p:custDataLst>
          </p:nvPr>
        </p:nvCxnSpPr>
        <p:spPr bwMode="auto">
          <a:xfrm>
            <a:off x="9820275" y="28670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53"/>
            </p:custDataLst>
          </p:nvPr>
        </p:nvCxnSpPr>
        <p:spPr bwMode="auto">
          <a:xfrm>
            <a:off x="9820275" y="3695700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>
            <p:custDataLst>
              <p:tags r:id="rId54"/>
            </p:custDataLst>
          </p:nvPr>
        </p:nvCxnSpPr>
        <p:spPr bwMode="auto">
          <a:xfrm>
            <a:off x="9820275" y="3286125"/>
            <a:ext cx="0" cy="1143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>
            <p:custDataLst>
              <p:tags r:id="rId55"/>
            </p:custDataLst>
          </p:nvPr>
        </p:nvSpPr>
        <p:spPr bwMode="auto">
          <a:xfrm>
            <a:off x="9817100" y="2562225"/>
            <a:ext cx="6350" cy="304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56"/>
            </p:custDataLst>
          </p:nvPr>
        </p:nvSpPr>
        <p:spPr bwMode="auto">
          <a:xfrm>
            <a:off x="9817100" y="2981325"/>
            <a:ext cx="6350" cy="304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>
            <p:custDataLst>
              <p:tags r:id="rId57"/>
            </p:custDataLst>
          </p:nvPr>
        </p:nvSpPr>
        <p:spPr bwMode="auto">
          <a:xfrm>
            <a:off x="9817100" y="2152650"/>
            <a:ext cx="6350" cy="2952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>
            <p:custDataLst>
              <p:tags r:id="rId58"/>
            </p:custDataLst>
          </p:nvPr>
        </p:nvSpPr>
        <p:spPr bwMode="auto">
          <a:xfrm>
            <a:off x="9886950" y="4229100"/>
            <a:ext cx="9525" cy="2952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>
            <p:custDataLst>
              <p:tags r:id="rId59"/>
            </p:custDataLst>
          </p:nvPr>
        </p:nvSpPr>
        <p:spPr bwMode="auto">
          <a:xfrm>
            <a:off x="9963150" y="5057775"/>
            <a:ext cx="9525" cy="3048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138" name="Object 62"/>
          <p:cNvGraphicFramePr>
            <a:graphicFrameLocks/>
          </p:cNvGraphicFramePr>
          <p:nvPr>
            <p:custDataLst>
              <p:tags r:id="rId60"/>
            </p:custDataLst>
            <p:extLst/>
          </p:nvPr>
        </p:nvGraphicFramePr>
        <p:xfrm>
          <a:off x="7429499" y="1562099"/>
          <a:ext cx="2714744" cy="4791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2" name="Chart" r:id="rId93" imgW="2711606" imgH="4787988" progId="MSGraph.Chart.8">
                  <p:embed followColorScheme="full"/>
                </p:oleObj>
              </mc:Choice>
              <mc:Fallback>
                <p:oleObj name="Chart" r:id="rId93" imgW="2711606" imgH="4787988" progId="MSGraph.Chart.8">
                  <p:embed followColorScheme="full"/>
                  <p:pic>
                    <p:nvPicPr>
                      <p:cNvPr id="138" name="Object 62"/>
                      <p:cNvPicPr>
                        <a:picLocks noChangeArrowheads="1"/>
                      </p:cNvPicPr>
                      <p:nvPr/>
                    </p:nvPicPr>
                    <p:blipFill>
                      <a:blip r:embed="rId94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429499" y="1562099"/>
                        <a:ext cx="2714744" cy="479124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9" name="Straight Connector 148"/>
          <p:cNvCxnSpPr/>
          <p:nvPr>
            <p:custDataLst>
              <p:tags r:id="rId61"/>
            </p:custDataLst>
          </p:nvPr>
        </p:nvCxnSpPr>
        <p:spPr bwMode="gray">
          <a:xfrm flipH="1">
            <a:off x="9820275" y="2300288"/>
            <a:ext cx="254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/>
          <p:nvPr>
            <p:custDataLst>
              <p:tags r:id="rId62"/>
            </p:custDataLst>
          </p:nvPr>
        </p:nvCxnSpPr>
        <p:spPr bwMode="gray">
          <a:xfrm flipH="1">
            <a:off x="9820275" y="2714625"/>
            <a:ext cx="254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63"/>
            </p:custDataLst>
          </p:nvPr>
        </p:nvCxnSpPr>
        <p:spPr bwMode="gray">
          <a:xfrm flipH="1">
            <a:off x="9820275" y="3133725"/>
            <a:ext cx="254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 72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6172200" y="1763713"/>
            <a:ext cx="4508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44E9898-D156-4125-893F-30DCF83EDFEF}" type="datetime'2''''''''''''''0''''''''''''''''''''''''''''35'''''''''''''">
              <a:rPr lang="en-US" b="1">
                <a:solidFill>
                  <a:schemeClr val="accent2"/>
                </a:solidFill>
                <a:latin typeface="+mn-lt"/>
                <a:sym typeface="+mn-lt"/>
              </a:rPr>
              <a:pPr/>
              <a:t>2035</a:t>
            </a:fld>
            <a:endParaRPr lang="en-US" b="1" dirty="0">
              <a:solidFill>
                <a:schemeClr val="accent2"/>
              </a:solidFill>
              <a:latin typeface="+mn-lt"/>
              <a:sym typeface="+mn-lt"/>
            </a:endParaRPr>
          </a:p>
        </p:txBody>
      </p:sp>
      <p:sp>
        <p:nvSpPr>
          <p:cNvPr id="167" name="Text Placeholder 116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9845675" y="1763713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8A729DF-14DB-4A3E-994D-AAF3F79ACAA2}" type="datetime'6''''''''''''''''''''''''''''''''8''''3'''''''''''''">
              <a:rPr lang="en-US" altLang="en-US" b="1">
                <a:solidFill>
                  <a:schemeClr val="accent2"/>
                </a:solidFill>
                <a:sym typeface="+mn-lt"/>
              </a:rPr>
              <a:pPr/>
              <a:t>683</a:t>
            </a:fld>
            <a:endParaRPr lang="en-US" b="1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166" name="Text Placeholder 113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9845675" y="2178050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3A19F0BB-F80E-445A-9308-AD8DF42A89FA}" type="datetime'''''''''''''''''''''''''''''''''''''''''''''''''2'''">
              <a:rPr lang="en-US" altLang="en-US">
                <a:sym typeface="+mn-lt"/>
              </a:rPr>
              <a:pPr/>
              <a:t>2</a:t>
            </a:fld>
            <a:endParaRPr lang="en-US" dirty="0">
              <a:sym typeface="+mn-lt"/>
            </a:endParaRPr>
          </a:p>
        </p:txBody>
      </p:sp>
      <p:sp>
        <p:nvSpPr>
          <p:cNvPr id="179" name="Text Placeholder 4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0064750" y="5916613"/>
            <a:ext cx="3889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FA5DAD8-C0D8-405C-9CEB-0C1113F9AD30}" type="datetime'''7''''''4''9'''''''''''''''''''''''''''''''''''''''''">
              <a:rPr lang="en-US" altLang="en-US" b="1">
                <a:solidFill>
                  <a:schemeClr val="accent2"/>
                </a:solidFill>
                <a:latin typeface="+mn-lt"/>
                <a:ea typeface="+mn-ea"/>
                <a:cs typeface="+mn-cs"/>
                <a:sym typeface="+mn-lt"/>
              </a:rPr>
              <a:pPr/>
              <a:t>749</a:t>
            </a:fld>
            <a:endParaRPr lang="en-GB" b="1" dirty="0">
              <a:solidFill>
                <a:schemeClr val="accent2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4" name="Text Placeholder 83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6172200" y="2592388"/>
            <a:ext cx="6540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4ABDB86-6826-4361-A28B-E7DE61B39F2F}" type="datetime'E''''''''''''''''''''''''''''''''u''ro''''''''''pe'''''''''''">
              <a:rPr lang="en-US">
                <a:sym typeface="+mn-lt"/>
              </a:rPr>
              <a:pPr/>
              <a:t>Europe</a:t>
            </a:fld>
            <a:endParaRPr lang="en-US" dirty="0">
              <a:sym typeface="+mn-lt"/>
            </a:endParaRPr>
          </a:p>
        </p:txBody>
      </p:sp>
      <p:sp>
        <p:nvSpPr>
          <p:cNvPr id="165" name="Text Placeholder 114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9845675" y="2592388"/>
            <a:ext cx="2317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69B3AB4-6C06-4A0E-9D9A-C7BBC5EE07C1}" type="datetime'''''''''-''''''''2'''">
              <a:rPr lang="en-US" altLang="en-US">
                <a:sym typeface="+mn-lt"/>
              </a:rPr>
              <a:pPr/>
              <a:t>-2</a:t>
            </a:fld>
            <a:endParaRPr lang="en-US" dirty="0">
              <a:sym typeface="+mn-lt"/>
            </a:endParaRPr>
          </a:p>
        </p:txBody>
      </p:sp>
      <p:sp>
        <p:nvSpPr>
          <p:cNvPr id="168" name="Text Placeholder 81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172200" y="2178050"/>
            <a:ext cx="12874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F298F97-04D3-43F6-83BF-C4A67C612A5F}" type="datetime'''Nor''''th ''A''''me''''''''''''r''''''''''ica'''">
              <a:rPr lang="en-US">
                <a:sym typeface="+mn-lt"/>
              </a:rPr>
              <a:pPr/>
              <a:t>North America</a:t>
            </a:fld>
            <a:endParaRPr lang="en-US" dirty="0">
              <a:sym typeface="+mn-lt"/>
            </a:endParaRPr>
          </a:p>
        </p:txBody>
      </p:sp>
      <p:sp>
        <p:nvSpPr>
          <p:cNvPr id="150" name="Rectangle 81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6172200" y="4668838"/>
            <a:ext cx="5191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4634C30B-A511-42A7-B21A-0AAE87F80D42}" type="datetime'''''A''f''''r''''i''ca'">
              <a:rPr lang="en-US" altLang="en-US">
                <a:latin typeface="+mn-lt"/>
                <a:sym typeface="+mn-lt"/>
              </a:rPr>
              <a:pPr/>
              <a:t>Africa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72"/>
            </p:custDataLst>
          </p:nvPr>
        </p:nvSpPr>
        <p:spPr bwMode="gray">
          <a:xfrm>
            <a:off x="9867900" y="5502275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2BB400F-69D1-4BEA-AC00-AB3AE4150B5C}" type="datetime'''''''2''''''''''''''''''''''''''''''''''''1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21</a:t>
            </a:fld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2" name="Rectangle 111"/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gray">
          <a:xfrm>
            <a:off x="9810750" y="4254500"/>
            <a:ext cx="163513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8179598-53BB-409B-B739-88A0C33CC446}" type="datetime'''''''4''''''''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4</a:t>
            </a:fld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7" name="Text Placeholder 7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845675" y="3011488"/>
            <a:ext cx="163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15449D6-B58E-4D26-8359-8EBF0553A186}" type="datetime'''0''''''''''''''''''''''''''''''''''''''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0</a:t>
            </a:fld>
            <a:endParaRPr lang="en-GB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6" name="Text Placeholder 5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6172200" y="3011488"/>
            <a:ext cx="11525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FF20D5-1788-4470-A22C-93DF8347D4DC}" type="datetime'O''''t''''''''''''''''h''e''''''r'''' ''''O''E''''''''''CD'''">
              <a:rPr lang="en-US">
                <a:latin typeface="+mn-lt"/>
                <a:ea typeface="+mn-ea"/>
                <a:cs typeface="+mn-cs"/>
                <a:sym typeface="+mn-lt"/>
              </a:rPr>
              <a:pPr/>
              <a:t>Other OECD</a:t>
            </a:fld>
            <a:endParaRPr lang="en-GB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3" name="Rectangle 75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6172200" y="5502275"/>
            <a:ext cx="5095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E0F233EF-DCAB-4657-B8B8-967FD88B295E}" type="datetime'O''''''''''''t''''''h''''''''''''e''''''''''''r'''''''">
              <a:rPr lang="en-US">
                <a:latin typeface="+mn-lt"/>
                <a:sym typeface="+mn-lt"/>
              </a:rPr>
              <a:pPr/>
              <a:t>Other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78" name="Text Placeholder 15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172200" y="5916613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E84CF28-046C-47B8-9B22-852F31CE0027}" type="datetime'''''''''''''''2''''''''0''''''''''5''''''''''''''0'">
              <a:rPr lang="en-US" b="1">
                <a:solidFill>
                  <a:schemeClr val="accent2"/>
                </a:solidFill>
                <a:sym typeface="+mn-lt"/>
              </a:rPr>
              <a:pPr/>
              <a:t>2050</a:t>
            </a:fld>
            <a:endParaRPr lang="en-US" b="1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10064750" y="3425825"/>
            <a:ext cx="2762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DBACF81-DCAA-41D0-B5F6-A5E3159523B4}" type="datetime'''''''''''''''''''''''''''''67'''''''''''''">
              <a:rPr lang="en-US" altLang="en-US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7</a:t>
            </a:fld>
            <a:endParaRPr lang="en-US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3" name="Text Placeholder 85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6172200" y="3425825"/>
            <a:ext cx="10255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6E71FA9-8D85-4E1C-99E5-490955F034EA}" type="datetime'''''''N''o''''''''''''''n''-O''''EC''D'''''''''''''''''''">
              <a:rPr lang="en-US">
                <a:sym typeface="+mn-lt"/>
              </a:rPr>
              <a:pPr/>
              <a:t>Non-OECD</a:t>
            </a:fld>
            <a:endParaRPr lang="en-US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9886950" y="5087938"/>
            <a:ext cx="163513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264902A-0A8F-491C-922B-CC7ABAD06DA8}" type="datetime'3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3</a:t>
            </a:fld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1" name="Rectangle 65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6172200" y="4254500"/>
            <a:ext cx="5286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58745BBB-9F50-41FD-AC2B-F704A92614DE}" type="datetime'''''''''''''''C''''''''''''''''''''''''hi''n''''''''''''''a'''">
              <a:rPr lang="en-US" altLang="en-US">
                <a:latin typeface="+mn-lt"/>
                <a:sym typeface="+mn-lt"/>
              </a:rPr>
              <a:pPr/>
              <a:t>China</a:t>
            </a:fld>
            <a:endParaRPr lang="en-US" dirty="0">
              <a:latin typeface="+mn-lt"/>
              <a:sym typeface="+mn-lt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gray">
          <a:xfrm>
            <a:off x="9791700" y="4668838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6596351-3AE4-402F-A0F0-4D8A6323D7FF}" type="datetime'''''''''''''''''''''''''''''''''''1''''''''''''''''''8''''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18</a:t>
            </a:fld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gray">
          <a:xfrm>
            <a:off x="9715500" y="3840163"/>
            <a:ext cx="276225" cy="2444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55E5158-BDB6-4D55-B040-4E3D6F371E6E}" type="datetime'''''''''''''''''''2''''''''''1'''">
              <a:rPr lang="en-US" altLang="en-US">
                <a:latin typeface="+mn-lt"/>
                <a:ea typeface="+mn-ea"/>
                <a:cs typeface="+mn-cs"/>
                <a:sym typeface="+mn-lt"/>
              </a:rPr>
              <a:pPr/>
              <a:t>21</a:t>
            </a:fld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0" name="Text Placeholder 3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6172200" y="5087938"/>
            <a:ext cx="10604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A4A64E5-4F88-433E-A331-B67D12EAD5D4}" type="datetime'''''''''''M''''id''''''''''''d''''l''''''e ''''E''''as''''''t'">
              <a:rPr lang="en-US" altLang="en-US">
                <a:sym typeface="+mn-lt"/>
              </a:rPr>
              <a:pPr/>
              <a:t>Middle East</a:t>
            </a:fld>
            <a:endParaRPr lang="en-US" dirty="0">
              <a:sym typeface="+mn-lt"/>
            </a:endParaRPr>
          </a:p>
        </p:txBody>
      </p:sp>
      <p:sp>
        <p:nvSpPr>
          <p:cNvPr id="152" name="Rectangle 66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6172200" y="3840163"/>
            <a:ext cx="4397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9ED555E6-128B-4E51-9F44-EC09EF5FCD63}" type="datetime'''''''''I''''''n''''d''''''ia'''''''''">
              <a:rPr lang="en-US" altLang="en-US">
                <a:latin typeface="+mn-lt"/>
                <a:sym typeface="+mn-lt"/>
              </a:rPr>
              <a:pPr/>
              <a:t>India</a:t>
            </a:fld>
            <a:endParaRPr lang="en-US" dirty="0">
              <a:latin typeface="+mn-lt"/>
              <a:sym typeface="+mn-lt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9735854" y="230189"/>
            <a:ext cx="1914796" cy="420524"/>
            <a:chOff x="8648065" y="647501"/>
            <a:chExt cx="1914796" cy="420524"/>
          </a:xfrm>
        </p:grpSpPr>
        <p:sp>
          <p:nvSpPr>
            <p:cNvPr id="75" name="Oval 97"/>
            <p:cNvSpPr>
              <a:spLocks noChangeArrowheads="1"/>
            </p:cNvSpPr>
            <p:nvPr/>
          </p:nvSpPr>
          <p:spPr bwMode="gray">
            <a:xfrm>
              <a:off x="8648065" y="647501"/>
              <a:ext cx="390671" cy="251659"/>
            </a:xfrm>
            <a:prstGeom prst="ellipse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 anchorCtr="1"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  <a:latin typeface="+mn-lt"/>
                </a:rPr>
                <a:t>x%</a:t>
              </a:r>
            </a:p>
          </p:txBody>
        </p:sp>
        <p:sp>
          <p:nvSpPr>
            <p:cNvPr id="38" name="TextBox 37"/>
            <p:cNvSpPr txBox="1">
              <a:spLocks/>
            </p:cNvSpPr>
            <p:nvPr/>
          </p:nvSpPr>
          <p:spPr>
            <a:xfrm>
              <a:off x="9094510" y="698693"/>
              <a:ext cx="1468351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accent3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3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3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accent3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00" dirty="0"/>
                <a:t>Share of total energy </a:t>
              </a:r>
              <a:br>
                <a:rPr lang="en-US" sz="1200" dirty="0"/>
              </a:br>
              <a:r>
                <a:rPr lang="en-US" sz="1200" dirty="0"/>
                <a:t>demand growth</a:t>
              </a:r>
            </a:p>
          </p:txBody>
        </p:sp>
      </p:grpSp>
      <p:grpSp>
        <p:nvGrpSpPr>
          <p:cNvPr id="23" name="Group 22"/>
          <p:cNvGrpSpPr>
            <a:grpSpLocks/>
          </p:cNvGrpSpPr>
          <p:nvPr/>
        </p:nvGrpSpPr>
        <p:grpSpPr>
          <a:xfrm>
            <a:off x="158759" y="1003300"/>
            <a:ext cx="11491891" cy="512711"/>
            <a:chOff x="337458" y="880204"/>
            <a:chExt cx="8618537" cy="512711"/>
          </a:xfrm>
        </p:grpSpPr>
        <p:sp>
          <p:nvSpPr>
            <p:cNvPr id="102" name="3. Unit of measure"/>
            <p:cNvSpPr txBox="1">
              <a:spLocks noChangeArrowheads="1"/>
            </p:cNvSpPr>
            <p:nvPr/>
          </p:nvSpPr>
          <p:spPr bwMode="auto">
            <a:xfrm>
              <a:off x="337458" y="880204"/>
              <a:ext cx="8618537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476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95350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44613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600" b="1" dirty="0">
                  <a:solidFill>
                    <a:schemeClr val="accent2"/>
                  </a:solidFill>
                  <a:latin typeface="+mn-lt"/>
                </a:rPr>
                <a:t>Primary energy demand</a:t>
              </a:r>
            </a:p>
            <a:p>
              <a:pPr>
                <a:defRPr/>
              </a:pPr>
              <a:r>
                <a:rPr lang="en-US" sz="16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Million terajoules</a:t>
              </a:r>
            </a:p>
          </p:txBody>
        </p: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337458" y="1392915"/>
              <a:ext cx="8618537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/>
          <p:cNvGrpSpPr/>
          <p:nvPr/>
        </p:nvGrpSpPr>
        <p:grpSpPr>
          <a:xfrm>
            <a:off x="4462463" y="4328338"/>
            <a:ext cx="914400" cy="914400"/>
            <a:chOff x="4138612" y="4328338"/>
            <a:chExt cx="914400" cy="914400"/>
          </a:xfrm>
        </p:grpSpPr>
        <p:sp>
          <p:nvSpPr>
            <p:cNvPr id="125" name="Oval 97"/>
            <p:cNvSpPr>
              <a:spLocks noChangeArrowheads="1"/>
            </p:cNvSpPr>
            <p:nvPr/>
          </p:nvSpPr>
          <p:spPr bwMode="gray">
            <a:xfrm>
              <a:off x="4276355" y="4633842"/>
              <a:ext cx="638914" cy="303392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  <a:effectLst/>
            <a:extLst/>
          </p:spPr>
          <p:txBody>
            <a:bodyPr wrap="none" lIns="0" tIns="0" rIns="0" bIns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107%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4138612" y="4328338"/>
              <a:ext cx="914400" cy="914400"/>
              <a:chOff x="4138612" y="4328338"/>
              <a:chExt cx="914400" cy="914400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4138612" y="4328338"/>
                <a:ext cx="914400" cy="914400"/>
              </a:xfrm>
              <a:prstGeom prst="ellipse">
                <a:avLst/>
              </a:prstGeom>
              <a:noFill/>
              <a:ln w="762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Arc 35"/>
              <p:cNvSpPr/>
              <p:nvPr/>
            </p:nvSpPr>
            <p:spPr>
              <a:xfrm>
                <a:off x="4138612" y="4328338"/>
                <a:ext cx="914400" cy="914400"/>
              </a:xfrm>
              <a:prstGeom prst="arc">
                <a:avLst>
                  <a:gd name="adj1" fmla="val 16200000"/>
                  <a:gd name="adj2" fmla="val 17676979"/>
                </a:avLst>
              </a:prstGeom>
              <a:ln w="762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29" name="Group 128"/>
          <p:cNvGrpSpPr/>
          <p:nvPr/>
        </p:nvGrpSpPr>
        <p:grpSpPr>
          <a:xfrm>
            <a:off x="10585450" y="4328338"/>
            <a:ext cx="914400" cy="914400"/>
            <a:chOff x="4138612" y="4328338"/>
            <a:chExt cx="914400" cy="914400"/>
          </a:xfrm>
        </p:grpSpPr>
        <p:sp>
          <p:nvSpPr>
            <p:cNvPr id="130" name="Oval 97"/>
            <p:cNvSpPr>
              <a:spLocks noChangeArrowheads="1"/>
            </p:cNvSpPr>
            <p:nvPr/>
          </p:nvSpPr>
          <p:spPr bwMode="gray">
            <a:xfrm>
              <a:off x="4276355" y="4633842"/>
              <a:ext cx="638914" cy="303392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  <a:effectLst/>
            <a:extLst/>
          </p:spPr>
          <p:txBody>
            <a:bodyPr wrap="none" lIns="0" tIns="0" rIns="0" bIns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accent2"/>
                  </a:solidFill>
                  <a:latin typeface="+mn-lt"/>
                </a:rPr>
                <a:t>100%</a:t>
              </a:r>
            </a:p>
          </p:txBody>
        </p:sp>
        <p:sp>
          <p:nvSpPr>
            <p:cNvPr id="132" name="Oval 131"/>
            <p:cNvSpPr/>
            <p:nvPr/>
          </p:nvSpPr>
          <p:spPr>
            <a:xfrm>
              <a:off x="4138612" y="4328338"/>
              <a:ext cx="914400" cy="914400"/>
            </a:xfrm>
            <a:prstGeom prst="ellipse">
              <a:avLst/>
            </a:prstGeom>
            <a:noFill/>
            <a:ln w="762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42" name="Bracket"/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10298127" y="3806825"/>
            <a:ext cx="180989" cy="1964928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6" fmla="*/ 0 w 115"/>
              <a:gd name="connsiteY6" fmla="*/ 1152 h 1152"/>
              <a:gd name="connsiteX0" fmla="*/ 0 w 120"/>
              <a:gd name="connsiteY0" fmla="*/ 0 h 1152"/>
              <a:gd name="connsiteX1" fmla="*/ 120 w 120"/>
              <a:gd name="connsiteY1" fmla="*/ 0 h 1152"/>
              <a:gd name="connsiteX2" fmla="*/ 65 w 120"/>
              <a:gd name="connsiteY2" fmla="*/ 528 h 1152"/>
              <a:gd name="connsiteX3" fmla="*/ 115 w 120"/>
              <a:gd name="connsiteY3" fmla="*/ 576 h 1152"/>
              <a:gd name="connsiteX4" fmla="*/ 65 w 120"/>
              <a:gd name="connsiteY4" fmla="*/ 624 h 1152"/>
              <a:gd name="connsiteX5" fmla="*/ 65 w 120"/>
              <a:gd name="connsiteY5" fmla="*/ 1152 h 1152"/>
              <a:gd name="connsiteX6" fmla="*/ 0 w 120"/>
              <a:gd name="connsiteY6" fmla="*/ 1152 h 1152"/>
              <a:gd name="connsiteX0" fmla="*/ 0 w 120"/>
              <a:gd name="connsiteY0" fmla="*/ 0 h 1152"/>
              <a:gd name="connsiteX1" fmla="*/ 120 w 120"/>
              <a:gd name="connsiteY1" fmla="*/ 0 h 1152"/>
              <a:gd name="connsiteX2" fmla="*/ 120 w 120"/>
              <a:gd name="connsiteY2" fmla="*/ 525 h 1152"/>
              <a:gd name="connsiteX3" fmla="*/ 115 w 120"/>
              <a:gd name="connsiteY3" fmla="*/ 576 h 1152"/>
              <a:gd name="connsiteX4" fmla="*/ 65 w 120"/>
              <a:gd name="connsiteY4" fmla="*/ 624 h 1152"/>
              <a:gd name="connsiteX5" fmla="*/ 65 w 120"/>
              <a:gd name="connsiteY5" fmla="*/ 1152 h 1152"/>
              <a:gd name="connsiteX6" fmla="*/ 0 w 120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65 w 212"/>
              <a:gd name="connsiteY4" fmla="*/ 624 h 1152"/>
              <a:gd name="connsiteX5" fmla="*/ 65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65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25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7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6" fmla="*/ 0 w 212"/>
              <a:gd name="connsiteY6" fmla="*/ 1152 h 1152"/>
              <a:gd name="connsiteX0" fmla="*/ 0 w 212"/>
              <a:gd name="connsiteY0" fmla="*/ 0 h 1152"/>
              <a:gd name="connsiteX1" fmla="*/ 120 w 212"/>
              <a:gd name="connsiteY1" fmla="*/ 0 h 1152"/>
              <a:gd name="connsiteX2" fmla="*/ 120 w 212"/>
              <a:gd name="connsiteY2" fmla="*/ 532 h 1152"/>
              <a:gd name="connsiteX3" fmla="*/ 212 w 212"/>
              <a:gd name="connsiteY3" fmla="*/ 576 h 1152"/>
              <a:gd name="connsiteX4" fmla="*/ 120 w 212"/>
              <a:gd name="connsiteY4" fmla="*/ 620 h 1152"/>
              <a:gd name="connsiteX5" fmla="*/ 120 w 212"/>
              <a:gd name="connsiteY5" fmla="*/ 1152 h 1152"/>
              <a:gd name="connsiteX0" fmla="*/ 0 w 212"/>
              <a:gd name="connsiteY0" fmla="*/ 0 h 620"/>
              <a:gd name="connsiteX1" fmla="*/ 120 w 212"/>
              <a:gd name="connsiteY1" fmla="*/ 0 h 620"/>
              <a:gd name="connsiteX2" fmla="*/ 120 w 212"/>
              <a:gd name="connsiteY2" fmla="*/ 532 h 620"/>
              <a:gd name="connsiteX3" fmla="*/ 212 w 212"/>
              <a:gd name="connsiteY3" fmla="*/ 576 h 620"/>
              <a:gd name="connsiteX4" fmla="*/ 120 w 212"/>
              <a:gd name="connsiteY4" fmla="*/ 620 h 620"/>
              <a:gd name="connsiteX0" fmla="*/ 0 w 212"/>
              <a:gd name="connsiteY0" fmla="*/ 0 h 576"/>
              <a:gd name="connsiteX1" fmla="*/ 120 w 212"/>
              <a:gd name="connsiteY1" fmla="*/ 0 h 576"/>
              <a:gd name="connsiteX2" fmla="*/ 120 w 212"/>
              <a:gd name="connsiteY2" fmla="*/ 532 h 576"/>
              <a:gd name="connsiteX3" fmla="*/ 212 w 212"/>
              <a:gd name="connsiteY3" fmla="*/ 576 h 576"/>
              <a:gd name="connsiteX0" fmla="*/ 0 w 120"/>
              <a:gd name="connsiteY0" fmla="*/ 0 h 532"/>
              <a:gd name="connsiteX1" fmla="*/ 120 w 120"/>
              <a:gd name="connsiteY1" fmla="*/ 0 h 532"/>
              <a:gd name="connsiteX2" fmla="*/ 120 w 120"/>
              <a:gd name="connsiteY2" fmla="*/ 532 h 532"/>
              <a:gd name="connsiteX0" fmla="*/ 0 w 120"/>
              <a:gd name="connsiteY0" fmla="*/ 0 h 0"/>
              <a:gd name="connsiteX1" fmla="*/ 120 w 120"/>
              <a:gd name="connsiteY1" fmla="*/ 0 h 0"/>
              <a:gd name="connsiteX0" fmla="*/ 0 w 3221"/>
              <a:gd name="connsiteY0" fmla="*/ 3155951 h 3155951"/>
              <a:gd name="connsiteX1" fmla="*/ 3221 w 3221"/>
              <a:gd name="connsiteY1" fmla="*/ 0 h 3155951"/>
              <a:gd name="connsiteX0" fmla="*/ 0 w 3221"/>
              <a:gd name="connsiteY0" fmla="*/ 3155951 h 3155951"/>
              <a:gd name="connsiteX1" fmla="*/ 3221 w 3221"/>
              <a:gd name="connsiteY1" fmla="*/ 0 h 3155951"/>
              <a:gd name="connsiteX2" fmla="*/ 102 w 3221"/>
              <a:gd name="connsiteY2" fmla="*/ 3155951 h 3155951"/>
              <a:gd name="connsiteX0" fmla="*/ 0 w 3221"/>
              <a:gd name="connsiteY0" fmla="*/ 3155951 h 3994151"/>
              <a:gd name="connsiteX1" fmla="*/ 3221 w 3221"/>
              <a:gd name="connsiteY1" fmla="*/ 0 h 3994151"/>
              <a:gd name="connsiteX2" fmla="*/ 102 w 3221"/>
              <a:gd name="connsiteY2" fmla="*/ 3155951 h 3994151"/>
              <a:gd name="connsiteX3" fmla="*/ 102 w 3221"/>
              <a:gd name="connsiteY3" fmla="*/ 3994151 h 3994151"/>
              <a:gd name="connsiteX0" fmla="*/ 0 w 3221"/>
              <a:gd name="connsiteY0" fmla="*/ 3155951 h 4070351"/>
              <a:gd name="connsiteX1" fmla="*/ 3221 w 3221"/>
              <a:gd name="connsiteY1" fmla="*/ 0 h 4070351"/>
              <a:gd name="connsiteX2" fmla="*/ 102 w 3221"/>
              <a:gd name="connsiteY2" fmla="*/ 3155951 h 4070351"/>
              <a:gd name="connsiteX3" fmla="*/ 102 w 3221"/>
              <a:gd name="connsiteY3" fmla="*/ 3994151 h 4070351"/>
              <a:gd name="connsiteX4" fmla="*/ 180 w 3221"/>
              <a:gd name="connsiteY4" fmla="*/ 4070351 h 4070351"/>
              <a:gd name="connsiteX0" fmla="*/ 0 w 3221"/>
              <a:gd name="connsiteY0" fmla="*/ 3155951 h 4146551"/>
              <a:gd name="connsiteX1" fmla="*/ 3221 w 3221"/>
              <a:gd name="connsiteY1" fmla="*/ 0 h 4146551"/>
              <a:gd name="connsiteX2" fmla="*/ 102 w 3221"/>
              <a:gd name="connsiteY2" fmla="*/ 3155951 h 4146551"/>
              <a:gd name="connsiteX3" fmla="*/ 102 w 3221"/>
              <a:gd name="connsiteY3" fmla="*/ 3994151 h 4146551"/>
              <a:gd name="connsiteX4" fmla="*/ 180 w 3221"/>
              <a:gd name="connsiteY4" fmla="*/ 4070351 h 4146551"/>
              <a:gd name="connsiteX5" fmla="*/ 102 w 3221"/>
              <a:gd name="connsiteY5" fmla="*/ 4146551 h 41465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7" fmla="*/ 0 w 3221"/>
              <a:gd name="connsiteY7" fmla="*/ 4984751 h 4984751"/>
              <a:gd name="connsiteX0" fmla="*/ 0 w 3221"/>
              <a:gd name="connsiteY0" fmla="*/ 3155951 h 4984751"/>
              <a:gd name="connsiteX1" fmla="*/ 3221 w 3221"/>
              <a:gd name="connsiteY1" fmla="*/ 0 h 4984751"/>
              <a:gd name="connsiteX2" fmla="*/ 102 w 3221"/>
              <a:gd name="connsiteY2" fmla="*/ 3155951 h 4984751"/>
              <a:gd name="connsiteX3" fmla="*/ 102 w 3221"/>
              <a:gd name="connsiteY3" fmla="*/ 3994151 h 4984751"/>
              <a:gd name="connsiteX4" fmla="*/ 180 w 3221"/>
              <a:gd name="connsiteY4" fmla="*/ 4070351 h 4984751"/>
              <a:gd name="connsiteX5" fmla="*/ 102 w 3221"/>
              <a:gd name="connsiteY5" fmla="*/ 4146551 h 4984751"/>
              <a:gd name="connsiteX6" fmla="*/ 102 w 3221"/>
              <a:gd name="connsiteY6" fmla="*/ 4984751 h 4984751"/>
              <a:gd name="connsiteX7" fmla="*/ 0 w 3221"/>
              <a:gd name="connsiteY7" fmla="*/ 4984751 h 4984751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0 h 1828800"/>
              <a:gd name="connsiteX3" fmla="*/ 102 w 180"/>
              <a:gd name="connsiteY3" fmla="*/ 838200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02 w 180"/>
              <a:gd name="connsiteY3" fmla="*/ 838200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80 w 180"/>
              <a:gd name="connsiteY4" fmla="*/ 914400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990600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102 w 180"/>
              <a:gd name="connsiteY6" fmla="*/ 1828800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102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94 w 180"/>
              <a:gd name="connsiteY1" fmla="*/ 0 h 1828800"/>
              <a:gd name="connsiteX2" fmla="*/ 102 w 180"/>
              <a:gd name="connsiteY2" fmla="*/ 838199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80"/>
              <a:gd name="connsiteY0" fmla="*/ 0 h 1828800"/>
              <a:gd name="connsiteX1" fmla="*/ 94 w 180"/>
              <a:gd name="connsiteY1" fmla="*/ 0 h 1828800"/>
              <a:gd name="connsiteX2" fmla="*/ 94 w 180"/>
              <a:gd name="connsiteY2" fmla="*/ 846422 h 1828800"/>
              <a:gd name="connsiteX3" fmla="*/ 180 w 180"/>
              <a:gd name="connsiteY3" fmla="*/ 914399 h 1828800"/>
              <a:gd name="connsiteX4" fmla="*/ 102 w 180"/>
              <a:gd name="connsiteY4" fmla="*/ 990599 h 1828800"/>
              <a:gd name="connsiteX5" fmla="*/ 102 w 180"/>
              <a:gd name="connsiteY5" fmla="*/ 1828799 h 1828800"/>
              <a:gd name="connsiteX6" fmla="*/ 0 w 180"/>
              <a:gd name="connsiteY6" fmla="*/ 1828799 h 1828800"/>
              <a:gd name="connsiteX7" fmla="*/ 0 w 180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102 w 166"/>
              <a:gd name="connsiteY4" fmla="*/ 990599 h 1828800"/>
              <a:gd name="connsiteX5" fmla="*/ 102 w 166"/>
              <a:gd name="connsiteY5" fmla="*/ 1828799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102 w 166"/>
              <a:gd name="connsiteY5" fmla="*/ 1828799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799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800 h 1828800"/>
              <a:gd name="connsiteX7" fmla="*/ 0 w 166"/>
              <a:gd name="connsiteY7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94 w 166"/>
              <a:gd name="connsiteY5" fmla="*/ 1828800 h 1828800"/>
              <a:gd name="connsiteX6" fmla="*/ 0 w 166"/>
              <a:gd name="connsiteY6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94 w 166"/>
              <a:gd name="connsiteY4" fmla="*/ 982378 h 1828800"/>
              <a:gd name="connsiteX5" fmla="*/ 0 w 166"/>
              <a:gd name="connsiteY5" fmla="*/ 1828800 h 1828800"/>
              <a:gd name="connsiteX0" fmla="*/ 0 w 166"/>
              <a:gd name="connsiteY0" fmla="*/ 0 h 1828800"/>
              <a:gd name="connsiteX1" fmla="*/ 94 w 166"/>
              <a:gd name="connsiteY1" fmla="*/ 0 h 1828800"/>
              <a:gd name="connsiteX2" fmla="*/ 94 w 166"/>
              <a:gd name="connsiteY2" fmla="*/ 846422 h 1828800"/>
              <a:gd name="connsiteX3" fmla="*/ 166 w 166"/>
              <a:gd name="connsiteY3" fmla="*/ 914400 h 1828800"/>
              <a:gd name="connsiteX4" fmla="*/ 0 w 166"/>
              <a:gd name="connsiteY4" fmla="*/ 1828800 h 1828800"/>
              <a:gd name="connsiteX0" fmla="*/ 0 w 94"/>
              <a:gd name="connsiteY0" fmla="*/ 0 h 1828800"/>
              <a:gd name="connsiteX1" fmla="*/ 94 w 94"/>
              <a:gd name="connsiteY1" fmla="*/ 0 h 1828800"/>
              <a:gd name="connsiteX2" fmla="*/ 94 w 94"/>
              <a:gd name="connsiteY2" fmla="*/ 846422 h 1828800"/>
              <a:gd name="connsiteX3" fmla="*/ 0 w 94"/>
              <a:gd name="connsiteY3" fmla="*/ 1828800 h 1828800"/>
              <a:gd name="connsiteX0" fmla="*/ 0 w 94"/>
              <a:gd name="connsiteY0" fmla="*/ 0 h 1828800"/>
              <a:gd name="connsiteX1" fmla="*/ 94 w 94"/>
              <a:gd name="connsiteY1" fmla="*/ 0 h 1828800"/>
              <a:gd name="connsiteX2" fmla="*/ 0 w 94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1387945"/>
              <a:gd name="connsiteY0" fmla="*/ 0 h 537010"/>
              <a:gd name="connsiteX1" fmla="*/ 1387945 w 1387945"/>
              <a:gd name="connsiteY1" fmla="*/ 537010 h 537010"/>
              <a:gd name="connsiteX0" fmla="*/ 0 w 1387945"/>
              <a:gd name="connsiteY0" fmla="*/ 0 h 537010"/>
              <a:gd name="connsiteX1" fmla="*/ 1387945 w 1387945"/>
              <a:gd name="connsiteY1" fmla="*/ 537010 h 537010"/>
              <a:gd name="connsiteX2" fmla="*/ 103188 w 1387945"/>
              <a:gd name="connsiteY2" fmla="*/ 0 h 537010"/>
              <a:gd name="connsiteX0" fmla="*/ 0 w 1387945"/>
              <a:gd name="connsiteY0" fmla="*/ 0 h 780130"/>
              <a:gd name="connsiteX1" fmla="*/ 1387945 w 1387945"/>
              <a:gd name="connsiteY1" fmla="*/ 537010 h 780130"/>
              <a:gd name="connsiteX2" fmla="*/ 103188 w 1387945"/>
              <a:gd name="connsiteY2" fmla="*/ 0 h 780130"/>
              <a:gd name="connsiteX3" fmla="*/ 103188 w 1387945"/>
              <a:gd name="connsiteY3" fmla="*/ 780130 h 780130"/>
              <a:gd name="connsiteX0" fmla="*/ 0 w 1387945"/>
              <a:gd name="connsiteY0" fmla="*/ 0 h 851050"/>
              <a:gd name="connsiteX1" fmla="*/ 1387945 w 1387945"/>
              <a:gd name="connsiteY1" fmla="*/ 537010 h 851050"/>
              <a:gd name="connsiteX2" fmla="*/ 103188 w 1387945"/>
              <a:gd name="connsiteY2" fmla="*/ 0 h 851050"/>
              <a:gd name="connsiteX3" fmla="*/ 103188 w 1387945"/>
              <a:gd name="connsiteY3" fmla="*/ 780130 h 851050"/>
              <a:gd name="connsiteX4" fmla="*/ 182563 w 1387945"/>
              <a:gd name="connsiteY4" fmla="*/ 851050 h 851050"/>
              <a:gd name="connsiteX0" fmla="*/ 0 w 1387945"/>
              <a:gd name="connsiteY0" fmla="*/ 0 h 921971"/>
              <a:gd name="connsiteX1" fmla="*/ 1387945 w 1387945"/>
              <a:gd name="connsiteY1" fmla="*/ 537010 h 921971"/>
              <a:gd name="connsiteX2" fmla="*/ 103188 w 1387945"/>
              <a:gd name="connsiteY2" fmla="*/ 0 h 921971"/>
              <a:gd name="connsiteX3" fmla="*/ 103188 w 1387945"/>
              <a:gd name="connsiteY3" fmla="*/ 780130 h 921971"/>
              <a:gd name="connsiteX4" fmla="*/ 182563 w 1387945"/>
              <a:gd name="connsiteY4" fmla="*/ 851050 h 921971"/>
              <a:gd name="connsiteX5" fmla="*/ 103188 w 1387945"/>
              <a:gd name="connsiteY5" fmla="*/ 921971 h 921971"/>
              <a:gd name="connsiteX0" fmla="*/ 0 w 1387945"/>
              <a:gd name="connsiteY0" fmla="*/ 0 h 1702101"/>
              <a:gd name="connsiteX1" fmla="*/ 1387945 w 1387945"/>
              <a:gd name="connsiteY1" fmla="*/ 537010 h 1702101"/>
              <a:gd name="connsiteX2" fmla="*/ 103188 w 1387945"/>
              <a:gd name="connsiteY2" fmla="*/ 0 h 1702101"/>
              <a:gd name="connsiteX3" fmla="*/ 103188 w 1387945"/>
              <a:gd name="connsiteY3" fmla="*/ 780130 h 1702101"/>
              <a:gd name="connsiteX4" fmla="*/ 182563 w 1387945"/>
              <a:gd name="connsiteY4" fmla="*/ 851050 h 1702101"/>
              <a:gd name="connsiteX5" fmla="*/ 103188 w 1387945"/>
              <a:gd name="connsiteY5" fmla="*/ 921971 h 1702101"/>
              <a:gd name="connsiteX6" fmla="*/ 103188 w 1387945"/>
              <a:gd name="connsiteY6" fmla="*/ 1702101 h 1702101"/>
              <a:gd name="connsiteX0" fmla="*/ 0 w 1387945"/>
              <a:gd name="connsiteY0" fmla="*/ 0 h 1702101"/>
              <a:gd name="connsiteX1" fmla="*/ 1387945 w 1387945"/>
              <a:gd name="connsiteY1" fmla="*/ 537010 h 1702101"/>
              <a:gd name="connsiteX2" fmla="*/ 103188 w 1387945"/>
              <a:gd name="connsiteY2" fmla="*/ 0 h 1702101"/>
              <a:gd name="connsiteX3" fmla="*/ 103188 w 1387945"/>
              <a:gd name="connsiteY3" fmla="*/ 780130 h 1702101"/>
              <a:gd name="connsiteX4" fmla="*/ 182563 w 1387945"/>
              <a:gd name="connsiteY4" fmla="*/ 851050 h 1702101"/>
              <a:gd name="connsiteX5" fmla="*/ 103188 w 1387945"/>
              <a:gd name="connsiteY5" fmla="*/ 921971 h 1702101"/>
              <a:gd name="connsiteX6" fmla="*/ 103188 w 1387945"/>
              <a:gd name="connsiteY6" fmla="*/ 1702101 h 1702101"/>
              <a:gd name="connsiteX7" fmla="*/ 1 w 1387945"/>
              <a:gd name="connsiteY7" fmla="*/ 1702101 h 1702101"/>
              <a:gd name="connsiteX0" fmla="*/ 0 w 1387944"/>
              <a:gd name="connsiteY0" fmla="*/ 0 h 1702102"/>
              <a:gd name="connsiteX1" fmla="*/ 1387944 w 1387944"/>
              <a:gd name="connsiteY1" fmla="*/ 537011 h 1702102"/>
              <a:gd name="connsiteX2" fmla="*/ 103187 w 1387944"/>
              <a:gd name="connsiteY2" fmla="*/ 1 h 1702102"/>
              <a:gd name="connsiteX3" fmla="*/ 103187 w 1387944"/>
              <a:gd name="connsiteY3" fmla="*/ 780131 h 1702102"/>
              <a:gd name="connsiteX4" fmla="*/ 182562 w 1387944"/>
              <a:gd name="connsiteY4" fmla="*/ 851051 h 1702102"/>
              <a:gd name="connsiteX5" fmla="*/ 103187 w 1387944"/>
              <a:gd name="connsiteY5" fmla="*/ 921972 h 1702102"/>
              <a:gd name="connsiteX6" fmla="*/ 103187 w 1387944"/>
              <a:gd name="connsiteY6" fmla="*/ 1702102 h 1702102"/>
              <a:gd name="connsiteX7" fmla="*/ 0 w 1387944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7 w 182562"/>
              <a:gd name="connsiteY2" fmla="*/ 1 h 1702102"/>
              <a:gd name="connsiteX3" fmla="*/ 103187 w 182562"/>
              <a:gd name="connsiteY3" fmla="*/ 78013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6 w 182562"/>
              <a:gd name="connsiteY2" fmla="*/ 780130 h 1702102"/>
              <a:gd name="connsiteX3" fmla="*/ 103187 w 182562"/>
              <a:gd name="connsiteY3" fmla="*/ 78013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2"/>
              <a:gd name="connsiteY0" fmla="*/ 0 h 1702102"/>
              <a:gd name="connsiteX1" fmla="*/ 103186 w 182562"/>
              <a:gd name="connsiteY1" fmla="*/ 0 h 1702102"/>
              <a:gd name="connsiteX2" fmla="*/ 103186 w 182562"/>
              <a:gd name="connsiteY2" fmla="*/ 780130 h 1702102"/>
              <a:gd name="connsiteX3" fmla="*/ 182561 w 182562"/>
              <a:gd name="connsiteY3" fmla="*/ 851051 h 1702102"/>
              <a:gd name="connsiteX4" fmla="*/ 182562 w 182562"/>
              <a:gd name="connsiteY4" fmla="*/ 851051 h 1702102"/>
              <a:gd name="connsiteX5" fmla="*/ 103187 w 182562"/>
              <a:gd name="connsiteY5" fmla="*/ 921972 h 1702102"/>
              <a:gd name="connsiteX6" fmla="*/ 103187 w 182562"/>
              <a:gd name="connsiteY6" fmla="*/ 1702102 h 1702102"/>
              <a:gd name="connsiteX7" fmla="*/ 0 w 182562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921972 h 1702102"/>
              <a:gd name="connsiteX6" fmla="*/ 103187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103187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103186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95211 w 182561"/>
              <a:gd name="connsiteY1" fmla="*/ 0 h 1702102"/>
              <a:gd name="connsiteX2" fmla="*/ 103186 w 182561"/>
              <a:gd name="connsiteY2" fmla="*/ 780130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82561"/>
              <a:gd name="connsiteY0" fmla="*/ 0 h 1702102"/>
              <a:gd name="connsiteX1" fmla="*/ 95211 w 182561"/>
              <a:gd name="connsiteY1" fmla="*/ 0 h 1702102"/>
              <a:gd name="connsiteX2" fmla="*/ 95211 w 182561"/>
              <a:gd name="connsiteY2" fmla="*/ 787794 h 1702102"/>
              <a:gd name="connsiteX3" fmla="*/ 182561 w 182561"/>
              <a:gd name="connsiteY3" fmla="*/ 851051 h 1702102"/>
              <a:gd name="connsiteX4" fmla="*/ 103186 w 182561"/>
              <a:gd name="connsiteY4" fmla="*/ 921972 h 1702102"/>
              <a:gd name="connsiteX5" fmla="*/ 103187 w 182561"/>
              <a:gd name="connsiteY5" fmla="*/ 1702102 h 1702102"/>
              <a:gd name="connsiteX6" fmla="*/ 0 w 182561"/>
              <a:gd name="connsiteY6" fmla="*/ 1702102 h 1702102"/>
              <a:gd name="connsiteX7" fmla="*/ 0 w 182561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103186 w 168450"/>
              <a:gd name="connsiteY4" fmla="*/ 921972 h 1702102"/>
              <a:gd name="connsiteX5" fmla="*/ 103187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103187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0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1 w 168450"/>
              <a:gd name="connsiteY6" fmla="*/ 1702102 h 1702102"/>
              <a:gd name="connsiteX7" fmla="*/ 0 w 168450"/>
              <a:gd name="connsiteY7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95212 w 168450"/>
              <a:gd name="connsiteY5" fmla="*/ 1702102 h 1702102"/>
              <a:gd name="connsiteX6" fmla="*/ 0 w 168450"/>
              <a:gd name="connsiteY6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95212 w 168450"/>
              <a:gd name="connsiteY4" fmla="*/ 914308 h 1702102"/>
              <a:gd name="connsiteX5" fmla="*/ 0 w 168450"/>
              <a:gd name="connsiteY5" fmla="*/ 1702102 h 1702102"/>
              <a:gd name="connsiteX0" fmla="*/ 0 w 168450"/>
              <a:gd name="connsiteY0" fmla="*/ 0 h 1702102"/>
              <a:gd name="connsiteX1" fmla="*/ 95211 w 168450"/>
              <a:gd name="connsiteY1" fmla="*/ 0 h 1702102"/>
              <a:gd name="connsiteX2" fmla="*/ 95211 w 168450"/>
              <a:gd name="connsiteY2" fmla="*/ 787794 h 1702102"/>
              <a:gd name="connsiteX3" fmla="*/ 168450 w 168450"/>
              <a:gd name="connsiteY3" fmla="*/ 851051 h 1702102"/>
              <a:gd name="connsiteX4" fmla="*/ 0 w 168450"/>
              <a:gd name="connsiteY4" fmla="*/ 1702102 h 1702102"/>
              <a:gd name="connsiteX0" fmla="*/ 0 w 95211"/>
              <a:gd name="connsiteY0" fmla="*/ 0 h 1702102"/>
              <a:gd name="connsiteX1" fmla="*/ 95211 w 95211"/>
              <a:gd name="connsiteY1" fmla="*/ 0 h 1702102"/>
              <a:gd name="connsiteX2" fmla="*/ 95211 w 95211"/>
              <a:gd name="connsiteY2" fmla="*/ 787794 h 1702102"/>
              <a:gd name="connsiteX3" fmla="*/ 0 w 95211"/>
              <a:gd name="connsiteY3" fmla="*/ 1702102 h 1702102"/>
              <a:gd name="connsiteX0" fmla="*/ 0 w 95211"/>
              <a:gd name="connsiteY0" fmla="*/ 0 h 1702102"/>
              <a:gd name="connsiteX1" fmla="*/ 95211 w 95211"/>
              <a:gd name="connsiteY1" fmla="*/ 0 h 1702102"/>
              <a:gd name="connsiteX2" fmla="*/ 0 w 95211"/>
              <a:gd name="connsiteY2" fmla="*/ 1702102 h 1702102"/>
              <a:gd name="connsiteX0" fmla="*/ 0 w 0"/>
              <a:gd name="connsiteY0" fmla="*/ 0 h 1702102"/>
              <a:gd name="connsiteX1" fmla="*/ 0 w 0"/>
              <a:gd name="connsiteY1" fmla="*/ 1702102 h 1702102"/>
              <a:gd name="connsiteX0" fmla="*/ 0 w 23957"/>
              <a:gd name="connsiteY0" fmla="*/ 0 h 1681349"/>
              <a:gd name="connsiteX1" fmla="*/ 23957 w 23957"/>
              <a:gd name="connsiteY1" fmla="*/ 1681349 h 1681349"/>
              <a:gd name="connsiteX0" fmla="*/ 0 w 103189"/>
              <a:gd name="connsiteY0" fmla="*/ 1 h 1681350"/>
              <a:gd name="connsiteX1" fmla="*/ 23957 w 103189"/>
              <a:gd name="connsiteY1" fmla="*/ 1681350 h 1681350"/>
              <a:gd name="connsiteX2" fmla="*/ 103189 w 103189"/>
              <a:gd name="connsiteY2" fmla="*/ 0 h 1681350"/>
              <a:gd name="connsiteX0" fmla="*/ 0 w 103189"/>
              <a:gd name="connsiteY0" fmla="*/ 1 h 1681350"/>
              <a:gd name="connsiteX1" fmla="*/ 23957 w 103189"/>
              <a:gd name="connsiteY1" fmla="*/ 1681350 h 1681350"/>
              <a:gd name="connsiteX2" fmla="*/ 103189 w 103189"/>
              <a:gd name="connsiteY2" fmla="*/ 0 h 1681350"/>
              <a:gd name="connsiteX3" fmla="*/ 103189 w 103189"/>
              <a:gd name="connsiteY3" fmla="*/ 726085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7" fmla="*/ 0 w 182564"/>
              <a:gd name="connsiteY7" fmla="*/ 1584184 h 1681350"/>
              <a:gd name="connsiteX0" fmla="*/ 0 w 182564"/>
              <a:gd name="connsiteY0" fmla="*/ 1 h 1681350"/>
              <a:gd name="connsiteX1" fmla="*/ 23957 w 182564"/>
              <a:gd name="connsiteY1" fmla="*/ 1681350 h 1681350"/>
              <a:gd name="connsiteX2" fmla="*/ 103189 w 182564"/>
              <a:gd name="connsiteY2" fmla="*/ 0 h 1681350"/>
              <a:gd name="connsiteX3" fmla="*/ 103189 w 182564"/>
              <a:gd name="connsiteY3" fmla="*/ 726085 h 1681350"/>
              <a:gd name="connsiteX4" fmla="*/ 182564 w 182564"/>
              <a:gd name="connsiteY4" fmla="*/ 792092 h 1681350"/>
              <a:gd name="connsiteX5" fmla="*/ 103188 w 182564"/>
              <a:gd name="connsiteY5" fmla="*/ 858100 h 1681350"/>
              <a:gd name="connsiteX6" fmla="*/ 103188 w 182564"/>
              <a:gd name="connsiteY6" fmla="*/ 1584184 h 1681350"/>
              <a:gd name="connsiteX7" fmla="*/ 0 w 182564"/>
              <a:gd name="connsiteY7" fmla="*/ 1584184 h 1681350"/>
              <a:gd name="connsiteX0" fmla="*/ 0 w 182564"/>
              <a:gd name="connsiteY0" fmla="*/ 1 h 1584184"/>
              <a:gd name="connsiteX1" fmla="*/ 103188 w 182564"/>
              <a:gd name="connsiteY1" fmla="*/ 1 h 1584184"/>
              <a:gd name="connsiteX2" fmla="*/ 103189 w 182564"/>
              <a:gd name="connsiteY2" fmla="*/ 0 h 1584184"/>
              <a:gd name="connsiteX3" fmla="*/ 103189 w 182564"/>
              <a:gd name="connsiteY3" fmla="*/ 726085 h 1584184"/>
              <a:gd name="connsiteX4" fmla="*/ 182564 w 182564"/>
              <a:gd name="connsiteY4" fmla="*/ 792092 h 1584184"/>
              <a:gd name="connsiteX5" fmla="*/ 103188 w 182564"/>
              <a:gd name="connsiteY5" fmla="*/ 858100 h 1584184"/>
              <a:gd name="connsiteX6" fmla="*/ 103188 w 182564"/>
              <a:gd name="connsiteY6" fmla="*/ 1584184 h 1584184"/>
              <a:gd name="connsiteX7" fmla="*/ 0 w 182564"/>
              <a:gd name="connsiteY7" fmla="*/ 1584184 h 1584184"/>
              <a:gd name="connsiteX0" fmla="*/ 0 w 182564"/>
              <a:gd name="connsiteY0" fmla="*/ 0 h 1584183"/>
              <a:gd name="connsiteX1" fmla="*/ 103188 w 182564"/>
              <a:gd name="connsiteY1" fmla="*/ 0 h 1584183"/>
              <a:gd name="connsiteX2" fmla="*/ 103188 w 182564"/>
              <a:gd name="connsiteY2" fmla="*/ 726084 h 1584183"/>
              <a:gd name="connsiteX3" fmla="*/ 103189 w 182564"/>
              <a:gd name="connsiteY3" fmla="*/ 726084 h 1584183"/>
              <a:gd name="connsiteX4" fmla="*/ 182564 w 182564"/>
              <a:gd name="connsiteY4" fmla="*/ 792091 h 1584183"/>
              <a:gd name="connsiteX5" fmla="*/ 103188 w 182564"/>
              <a:gd name="connsiteY5" fmla="*/ 858099 h 1584183"/>
              <a:gd name="connsiteX6" fmla="*/ 103188 w 182564"/>
              <a:gd name="connsiteY6" fmla="*/ 1584183 h 1584183"/>
              <a:gd name="connsiteX7" fmla="*/ 0 w 182564"/>
              <a:gd name="connsiteY7" fmla="*/ 1584183 h 1584183"/>
              <a:gd name="connsiteX0" fmla="*/ 0 w 182564"/>
              <a:gd name="connsiteY0" fmla="*/ 0 h 1584183"/>
              <a:gd name="connsiteX1" fmla="*/ 103188 w 182564"/>
              <a:gd name="connsiteY1" fmla="*/ 0 h 1584183"/>
              <a:gd name="connsiteX2" fmla="*/ 103188 w 182564"/>
              <a:gd name="connsiteY2" fmla="*/ 726084 h 1584183"/>
              <a:gd name="connsiteX3" fmla="*/ 182563 w 182564"/>
              <a:gd name="connsiteY3" fmla="*/ 792091 h 1584183"/>
              <a:gd name="connsiteX4" fmla="*/ 182564 w 182564"/>
              <a:gd name="connsiteY4" fmla="*/ 792091 h 1584183"/>
              <a:gd name="connsiteX5" fmla="*/ 103188 w 182564"/>
              <a:gd name="connsiteY5" fmla="*/ 858099 h 1584183"/>
              <a:gd name="connsiteX6" fmla="*/ 103188 w 182564"/>
              <a:gd name="connsiteY6" fmla="*/ 1584183 h 1584183"/>
              <a:gd name="connsiteX7" fmla="*/ 0 w 182564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8 w 182563"/>
              <a:gd name="connsiteY5" fmla="*/ 858099 h 1584183"/>
              <a:gd name="connsiteX6" fmla="*/ 103188 w 182563"/>
              <a:gd name="connsiteY6" fmla="*/ 1584183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03188 w 182563"/>
              <a:gd name="connsiteY6" fmla="*/ 1584183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103188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95211 w 182563"/>
              <a:gd name="connsiteY1" fmla="*/ 0 h 1584183"/>
              <a:gd name="connsiteX2" fmla="*/ 103188 w 182563"/>
              <a:gd name="connsiteY2" fmla="*/ 726084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82563"/>
              <a:gd name="connsiteY0" fmla="*/ 0 h 1584183"/>
              <a:gd name="connsiteX1" fmla="*/ 95211 w 182563"/>
              <a:gd name="connsiteY1" fmla="*/ 0 h 1584183"/>
              <a:gd name="connsiteX2" fmla="*/ 95211 w 182563"/>
              <a:gd name="connsiteY2" fmla="*/ 733217 h 1584183"/>
              <a:gd name="connsiteX3" fmla="*/ 182563 w 182563"/>
              <a:gd name="connsiteY3" fmla="*/ 792091 h 1584183"/>
              <a:gd name="connsiteX4" fmla="*/ 103188 w 182563"/>
              <a:gd name="connsiteY4" fmla="*/ 858098 h 1584183"/>
              <a:gd name="connsiteX5" fmla="*/ 103189 w 182563"/>
              <a:gd name="connsiteY5" fmla="*/ 1584182 h 1584183"/>
              <a:gd name="connsiteX6" fmla="*/ 1 w 182563"/>
              <a:gd name="connsiteY6" fmla="*/ 1584182 h 1584183"/>
              <a:gd name="connsiteX7" fmla="*/ 0 w 182563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103188 w 168450"/>
              <a:gd name="connsiteY4" fmla="*/ 858098 h 1584183"/>
              <a:gd name="connsiteX5" fmla="*/ 103189 w 168450"/>
              <a:gd name="connsiteY5" fmla="*/ 1584182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103189 w 168450"/>
              <a:gd name="connsiteY5" fmla="*/ 1584182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95212 w 168450"/>
              <a:gd name="connsiteY5" fmla="*/ 1584183 h 1584183"/>
              <a:gd name="connsiteX6" fmla="*/ 1 w 168450"/>
              <a:gd name="connsiteY6" fmla="*/ 1584182 h 1584183"/>
              <a:gd name="connsiteX7" fmla="*/ 0 w 168450"/>
              <a:gd name="connsiteY7" fmla="*/ 1584183 h 1584183"/>
              <a:gd name="connsiteX0" fmla="*/ 0 w 168450"/>
              <a:gd name="connsiteY0" fmla="*/ 0 h 1584183"/>
              <a:gd name="connsiteX1" fmla="*/ 95211 w 168450"/>
              <a:gd name="connsiteY1" fmla="*/ 0 h 1584183"/>
              <a:gd name="connsiteX2" fmla="*/ 95211 w 168450"/>
              <a:gd name="connsiteY2" fmla="*/ 733217 h 1584183"/>
              <a:gd name="connsiteX3" fmla="*/ 168450 w 168450"/>
              <a:gd name="connsiteY3" fmla="*/ 792092 h 1584183"/>
              <a:gd name="connsiteX4" fmla="*/ 95212 w 168450"/>
              <a:gd name="connsiteY4" fmla="*/ 850966 h 1584183"/>
              <a:gd name="connsiteX5" fmla="*/ 95212 w 168450"/>
              <a:gd name="connsiteY5" fmla="*/ 1584183 h 1584183"/>
              <a:gd name="connsiteX6" fmla="*/ 1 w 168450"/>
              <a:gd name="connsiteY6" fmla="*/ 1584183 h 1584183"/>
              <a:gd name="connsiteX7" fmla="*/ 0 w 168450"/>
              <a:gd name="connsiteY7" fmla="*/ 1584183 h 158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8450" h="1584183">
                <a:moveTo>
                  <a:pt x="0" y="0"/>
                </a:moveTo>
                <a:lnTo>
                  <a:pt x="95211" y="0"/>
                </a:lnTo>
                <a:lnTo>
                  <a:pt x="95211" y="733217"/>
                </a:lnTo>
                <a:lnTo>
                  <a:pt x="168450" y="792092"/>
                </a:lnTo>
                <a:lnTo>
                  <a:pt x="95212" y="850966"/>
                </a:lnTo>
                <a:lnTo>
                  <a:pt x="95212" y="1584183"/>
                </a:lnTo>
                <a:lnTo>
                  <a:pt x="1" y="1584183"/>
                </a:lnTo>
                <a:lnTo>
                  <a:pt x="0" y="1584183"/>
                </a:lnTo>
              </a:path>
            </a:pathLst>
          </a:custGeom>
          <a:noFill/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06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>
              <a:tabLst/>
            </a:pPr>
            <a:r>
              <a:rPr lang="en-GB" sz="800" baseline="0" noProof="0" dirty="0">
                <a:solidFill>
                  <a:schemeClr val="tx1"/>
                </a:solidFill>
                <a:latin typeface="+mn-lt"/>
              </a:rPr>
              <a:t>SOURCE: McKinsey Energy</a:t>
            </a:r>
            <a:r>
              <a:rPr lang="en-GB" sz="800" noProof="0" dirty="0">
                <a:solidFill>
                  <a:schemeClr val="tx1"/>
                </a:solidFill>
                <a:latin typeface="+mn-lt"/>
              </a:rPr>
              <a:t> Insights’</a:t>
            </a:r>
            <a:r>
              <a:rPr lang="en-GB" sz="800" baseline="0" noProof="0" dirty="0">
                <a:solidFill>
                  <a:schemeClr val="tx1"/>
                </a:solidFill>
                <a:latin typeface="+mn-lt"/>
              </a:rPr>
              <a:t> Global Energy Perspective, July 2017</a:t>
            </a:r>
            <a:endParaRPr lang="en-US" sz="800" baseline="0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860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2" name="think-cell Slide" r:id="rId55" imgW="353" imgH="353" progId="TCLayout.ActiveDocument.1">
                  <p:embed/>
                </p:oleObj>
              </mc:Choice>
              <mc:Fallback>
                <p:oleObj name="think-cell Slide" r:id="rId55" imgW="353" imgH="353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Freeform 83"/>
          <p:cNvSpPr/>
          <p:nvPr/>
        </p:nvSpPr>
        <p:spPr>
          <a:xfrm>
            <a:off x="4201160" y="1522413"/>
            <a:ext cx="7243826" cy="4566247"/>
          </a:xfrm>
          <a:custGeom>
            <a:avLst/>
            <a:gdLst>
              <a:gd name="connsiteX0" fmla="*/ 0 w 7581207"/>
              <a:gd name="connsiteY0" fmla="*/ 2477193 h 4804757"/>
              <a:gd name="connsiteX1" fmla="*/ 1795549 w 7581207"/>
              <a:gd name="connsiteY1" fmla="*/ 0 h 4804757"/>
              <a:gd name="connsiteX2" fmla="*/ 7581207 w 7581207"/>
              <a:gd name="connsiteY2" fmla="*/ 0 h 4804757"/>
              <a:gd name="connsiteX3" fmla="*/ 7581207 w 7581207"/>
              <a:gd name="connsiteY3" fmla="*/ 4804757 h 4804757"/>
              <a:gd name="connsiteX4" fmla="*/ 1463040 w 7581207"/>
              <a:gd name="connsiteY4" fmla="*/ 4804757 h 4804757"/>
              <a:gd name="connsiteX5" fmla="*/ 33250 w 7581207"/>
              <a:gd name="connsiteY5" fmla="*/ 3574473 h 4804757"/>
              <a:gd name="connsiteX6" fmla="*/ 0 w 7581207"/>
              <a:gd name="connsiteY6" fmla="*/ 2477193 h 4804757"/>
              <a:gd name="connsiteX0" fmla="*/ 0 w 7581207"/>
              <a:gd name="connsiteY0" fmla="*/ 2477193 h 4804757"/>
              <a:gd name="connsiteX1" fmla="*/ 1795549 w 7581207"/>
              <a:gd name="connsiteY1" fmla="*/ 0 h 4804757"/>
              <a:gd name="connsiteX2" fmla="*/ 7581207 w 7581207"/>
              <a:gd name="connsiteY2" fmla="*/ 0 h 4804757"/>
              <a:gd name="connsiteX3" fmla="*/ 7581207 w 7581207"/>
              <a:gd name="connsiteY3" fmla="*/ 4804757 h 4804757"/>
              <a:gd name="connsiteX4" fmla="*/ 1463040 w 7581207"/>
              <a:gd name="connsiteY4" fmla="*/ 4804757 h 4804757"/>
              <a:gd name="connsiteX5" fmla="*/ 33250 w 7581207"/>
              <a:gd name="connsiteY5" fmla="*/ 3574473 h 4804757"/>
              <a:gd name="connsiteX6" fmla="*/ 20181 w 7581207"/>
              <a:gd name="connsiteY6" fmla="*/ 2863735 h 4804757"/>
              <a:gd name="connsiteX7" fmla="*/ 0 w 7581207"/>
              <a:gd name="connsiteY7" fmla="*/ 2477193 h 4804757"/>
              <a:gd name="connsiteX0" fmla="*/ 0 w 7581207"/>
              <a:gd name="connsiteY0" fmla="*/ 2477193 h 4804757"/>
              <a:gd name="connsiteX1" fmla="*/ 1795549 w 7581207"/>
              <a:gd name="connsiteY1" fmla="*/ 0 h 4804757"/>
              <a:gd name="connsiteX2" fmla="*/ 7581207 w 7581207"/>
              <a:gd name="connsiteY2" fmla="*/ 0 h 4804757"/>
              <a:gd name="connsiteX3" fmla="*/ 7581207 w 7581207"/>
              <a:gd name="connsiteY3" fmla="*/ 4804757 h 4804757"/>
              <a:gd name="connsiteX4" fmla="*/ 1463040 w 7581207"/>
              <a:gd name="connsiteY4" fmla="*/ 4804757 h 4804757"/>
              <a:gd name="connsiteX5" fmla="*/ 33250 w 7581207"/>
              <a:gd name="connsiteY5" fmla="*/ 3574473 h 4804757"/>
              <a:gd name="connsiteX6" fmla="*/ 20181 w 7581207"/>
              <a:gd name="connsiteY6" fmla="*/ 3346335 h 4804757"/>
              <a:gd name="connsiteX7" fmla="*/ 20181 w 7581207"/>
              <a:gd name="connsiteY7" fmla="*/ 2863735 h 4804757"/>
              <a:gd name="connsiteX8" fmla="*/ 0 w 7581207"/>
              <a:gd name="connsiteY8" fmla="*/ 2477193 h 4804757"/>
              <a:gd name="connsiteX0" fmla="*/ 1429112 w 9010319"/>
              <a:gd name="connsiteY0" fmla="*/ 2477193 h 4804757"/>
              <a:gd name="connsiteX1" fmla="*/ 3224661 w 9010319"/>
              <a:gd name="connsiteY1" fmla="*/ 0 h 4804757"/>
              <a:gd name="connsiteX2" fmla="*/ 9010319 w 9010319"/>
              <a:gd name="connsiteY2" fmla="*/ 0 h 4804757"/>
              <a:gd name="connsiteX3" fmla="*/ 9010319 w 9010319"/>
              <a:gd name="connsiteY3" fmla="*/ 4804757 h 4804757"/>
              <a:gd name="connsiteX4" fmla="*/ 2892152 w 9010319"/>
              <a:gd name="connsiteY4" fmla="*/ 4804757 h 4804757"/>
              <a:gd name="connsiteX5" fmla="*/ 1462362 w 9010319"/>
              <a:gd name="connsiteY5" fmla="*/ 3574473 h 4804757"/>
              <a:gd name="connsiteX6" fmla="*/ 1449293 w 9010319"/>
              <a:gd name="connsiteY6" fmla="*/ 3346335 h 4804757"/>
              <a:gd name="connsiteX7" fmla="*/ 0 w 9010319"/>
              <a:gd name="connsiteY7" fmla="*/ 2495435 h 4804757"/>
              <a:gd name="connsiteX8" fmla="*/ 1429112 w 9010319"/>
              <a:gd name="connsiteY8" fmla="*/ 2477193 h 4804757"/>
              <a:gd name="connsiteX0" fmla="*/ 1429112 w 9010319"/>
              <a:gd name="connsiteY0" fmla="*/ 2477193 h 4804757"/>
              <a:gd name="connsiteX1" fmla="*/ 3224661 w 9010319"/>
              <a:gd name="connsiteY1" fmla="*/ 0 h 4804757"/>
              <a:gd name="connsiteX2" fmla="*/ 9010319 w 9010319"/>
              <a:gd name="connsiteY2" fmla="*/ 0 h 4804757"/>
              <a:gd name="connsiteX3" fmla="*/ 9010319 w 9010319"/>
              <a:gd name="connsiteY3" fmla="*/ 4804757 h 4804757"/>
              <a:gd name="connsiteX4" fmla="*/ 2892152 w 9010319"/>
              <a:gd name="connsiteY4" fmla="*/ 4804757 h 4804757"/>
              <a:gd name="connsiteX5" fmla="*/ 1462362 w 9010319"/>
              <a:gd name="connsiteY5" fmla="*/ 3574473 h 4804757"/>
              <a:gd name="connsiteX6" fmla="*/ 15097 w 9010319"/>
              <a:gd name="connsiteY6" fmla="*/ 3600335 h 4804757"/>
              <a:gd name="connsiteX7" fmla="*/ 0 w 9010319"/>
              <a:gd name="connsiteY7" fmla="*/ 2495435 h 4804757"/>
              <a:gd name="connsiteX8" fmla="*/ 1429112 w 9010319"/>
              <a:gd name="connsiteY8" fmla="*/ 2477193 h 4804757"/>
              <a:gd name="connsiteX0" fmla="*/ 1429112 w 9010319"/>
              <a:gd name="connsiteY0" fmla="*/ 2477193 h 4804757"/>
              <a:gd name="connsiteX1" fmla="*/ 3224661 w 9010319"/>
              <a:gd name="connsiteY1" fmla="*/ 0 h 4804757"/>
              <a:gd name="connsiteX2" fmla="*/ 9010319 w 9010319"/>
              <a:gd name="connsiteY2" fmla="*/ 0 h 4804757"/>
              <a:gd name="connsiteX3" fmla="*/ 9010319 w 9010319"/>
              <a:gd name="connsiteY3" fmla="*/ 4804757 h 4804757"/>
              <a:gd name="connsiteX4" fmla="*/ 2892152 w 9010319"/>
              <a:gd name="connsiteY4" fmla="*/ 4804757 h 4804757"/>
              <a:gd name="connsiteX5" fmla="*/ 1462362 w 9010319"/>
              <a:gd name="connsiteY5" fmla="*/ 3612573 h 4804757"/>
              <a:gd name="connsiteX6" fmla="*/ 15097 w 9010319"/>
              <a:gd name="connsiteY6" fmla="*/ 3600335 h 4804757"/>
              <a:gd name="connsiteX7" fmla="*/ 0 w 9010319"/>
              <a:gd name="connsiteY7" fmla="*/ 2495435 h 4804757"/>
              <a:gd name="connsiteX8" fmla="*/ 1429112 w 9010319"/>
              <a:gd name="connsiteY8" fmla="*/ 2477193 h 4804757"/>
              <a:gd name="connsiteX0" fmla="*/ 1429112 w 9010319"/>
              <a:gd name="connsiteY0" fmla="*/ 2477193 h 4804757"/>
              <a:gd name="connsiteX1" fmla="*/ 2251444 w 9010319"/>
              <a:gd name="connsiteY1" fmla="*/ 21265 h 4804757"/>
              <a:gd name="connsiteX2" fmla="*/ 9010319 w 9010319"/>
              <a:gd name="connsiteY2" fmla="*/ 0 h 4804757"/>
              <a:gd name="connsiteX3" fmla="*/ 9010319 w 9010319"/>
              <a:gd name="connsiteY3" fmla="*/ 4804757 h 4804757"/>
              <a:gd name="connsiteX4" fmla="*/ 2892152 w 9010319"/>
              <a:gd name="connsiteY4" fmla="*/ 4804757 h 4804757"/>
              <a:gd name="connsiteX5" fmla="*/ 1462362 w 9010319"/>
              <a:gd name="connsiteY5" fmla="*/ 3612573 h 4804757"/>
              <a:gd name="connsiteX6" fmla="*/ 15097 w 9010319"/>
              <a:gd name="connsiteY6" fmla="*/ 3600335 h 4804757"/>
              <a:gd name="connsiteX7" fmla="*/ 0 w 9010319"/>
              <a:gd name="connsiteY7" fmla="*/ 2495435 h 4804757"/>
              <a:gd name="connsiteX8" fmla="*/ 1429112 w 9010319"/>
              <a:gd name="connsiteY8" fmla="*/ 2477193 h 4804757"/>
              <a:gd name="connsiteX0" fmla="*/ 1429112 w 9010319"/>
              <a:gd name="connsiteY0" fmla="*/ 2477193 h 4815390"/>
              <a:gd name="connsiteX1" fmla="*/ 2251444 w 9010319"/>
              <a:gd name="connsiteY1" fmla="*/ 21265 h 4815390"/>
              <a:gd name="connsiteX2" fmla="*/ 9010319 w 9010319"/>
              <a:gd name="connsiteY2" fmla="*/ 0 h 4815390"/>
              <a:gd name="connsiteX3" fmla="*/ 9010319 w 9010319"/>
              <a:gd name="connsiteY3" fmla="*/ 4804757 h 4815390"/>
              <a:gd name="connsiteX4" fmla="*/ 2146440 w 9010319"/>
              <a:gd name="connsiteY4" fmla="*/ 4815390 h 4815390"/>
              <a:gd name="connsiteX5" fmla="*/ 1462362 w 9010319"/>
              <a:gd name="connsiteY5" fmla="*/ 3612573 h 4815390"/>
              <a:gd name="connsiteX6" fmla="*/ 15097 w 9010319"/>
              <a:gd name="connsiteY6" fmla="*/ 3600335 h 4815390"/>
              <a:gd name="connsiteX7" fmla="*/ 0 w 9010319"/>
              <a:gd name="connsiteY7" fmla="*/ 2495435 h 4815390"/>
              <a:gd name="connsiteX8" fmla="*/ 1429112 w 9010319"/>
              <a:gd name="connsiteY8" fmla="*/ 2477193 h 4815390"/>
              <a:gd name="connsiteX0" fmla="*/ 1429112 w 9010319"/>
              <a:gd name="connsiteY0" fmla="*/ 2477193 h 4815390"/>
              <a:gd name="connsiteX1" fmla="*/ 2137691 w 9010319"/>
              <a:gd name="connsiteY1" fmla="*/ 21265 h 4815390"/>
              <a:gd name="connsiteX2" fmla="*/ 9010319 w 9010319"/>
              <a:gd name="connsiteY2" fmla="*/ 0 h 4815390"/>
              <a:gd name="connsiteX3" fmla="*/ 9010319 w 9010319"/>
              <a:gd name="connsiteY3" fmla="*/ 4804757 h 4815390"/>
              <a:gd name="connsiteX4" fmla="*/ 2146440 w 9010319"/>
              <a:gd name="connsiteY4" fmla="*/ 4815390 h 4815390"/>
              <a:gd name="connsiteX5" fmla="*/ 1462362 w 9010319"/>
              <a:gd name="connsiteY5" fmla="*/ 3612573 h 4815390"/>
              <a:gd name="connsiteX6" fmla="*/ 15097 w 9010319"/>
              <a:gd name="connsiteY6" fmla="*/ 3600335 h 4815390"/>
              <a:gd name="connsiteX7" fmla="*/ 0 w 9010319"/>
              <a:gd name="connsiteY7" fmla="*/ 2495435 h 4815390"/>
              <a:gd name="connsiteX8" fmla="*/ 1429112 w 9010319"/>
              <a:gd name="connsiteY8" fmla="*/ 2477193 h 4815390"/>
              <a:gd name="connsiteX0" fmla="*/ 1429112 w 9010319"/>
              <a:gd name="connsiteY0" fmla="*/ 2455928 h 4794125"/>
              <a:gd name="connsiteX1" fmla="*/ 2137691 w 9010319"/>
              <a:gd name="connsiteY1" fmla="*/ 0 h 4794125"/>
              <a:gd name="connsiteX2" fmla="*/ 9010319 w 9010319"/>
              <a:gd name="connsiteY2" fmla="*/ 0 h 4794125"/>
              <a:gd name="connsiteX3" fmla="*/ 9010319 w 9010319"/>
              <a:gd name="connsiteY3" fmla="*/ 4783492 h 4794125"/>
              <a:gd name="connsiteX4" fmla="*/ 2146440 w 9010319"/>
              <a:gd name="connsiteY4" fmla="*/ 4794125 h 4794125"/>
              <a:gd name="connsiteX5" fmla="*/ 1462362 w 9010319"/>
              <a:gd name="connsiteY5" fmla="*/ 3591308 h 4794125"/>
              <a:gd name="connsiteX6" fmla="*/ 15097 w 9010319"/>
              <a:gd name="connsiteY6" fmla="*/ 3579070 h 4794125"/>
              <a:gd name="connsiteX7" fmla="*/ 0 w 9010319"/>
              <a:gd name="connsiteY7" fmla="*/ 2474170 h 4794125"/>
              <a:gd name="connsiteX8" fmla="*/ 1429112 w 9010319"/>
              <a:gd name="connsiteY8" fmla="*/ 2455928 h 4794125"/>
              <a:gd name="connsiteX0" fmla="*/ 1447228 w 9010319"/>
              <a:gd name="connsiteY0" fmla="*/ 2534014 h 4794125"/>
              <a:gd name="connsiteX1" fmla="*/ 2137691 w 9010319"/>
              <a:gd name="connsiteY1" fmla="*/ 0 h 4794125"/>
              <a:gd name="connsiteX2" fmla="*/ 9010319 w 9010319"/>
              <a:gd name="connsiteY2" fmla="*/ 0 h 4794125"/>
              <a:gd name="connsiteX3" fmla="*/ 9010319 w 9010319"/>
              <a:gd name="connsiteY3" fmla="*/ 4783492 h 4794125"/>
              <a:gd name="connsiteX4" fmla="*/ 2146440 w 9010319"/>
              <a:gd name="connsiteY4" fmla="*/ 4794125 h 4794125"/>
              <a:gd name="connsiteX5" fmla="*/ 1462362 w 9010319"/>
              <a:gd name="connsiteY5" fmla="*/ 3591308 h 4794125"/>
              <a:gd name="connsiteX6" fmla="*/ 15097 w 9010319"/>
              <a:gd name="connsiteY6" fmla="*/ 3579070 h 4794125"/>
              <a:gd name="connsiteX7" fmla="*/ 0 w 9010319"/>
              <a:gd name="connsiteY7" fmla="*/ 2474170 h 4794125"/>
              <a:gd name="connsiteX8" fmla="*/ 1447228 w 9010319"/>
              <a:gd name="connsiteY8" fmla="*/ 2534014 h 4794125"/>
              <a:gd name="connsiteX0" fmla="*/ 1438170 w 9001261"/>
              <a:gd name="connsiteY0" fmla="*/ 2534014 h 4794125"/>
              <a:gd name="connsiteX1" fmla="*/ 2128633 w 9001261"/>
              <a:gd name="connsiteY1" fmla="*/ 0 h 4794125"/>
              <a:gd name="connsiteX2" fmla="*/ 9001261 w 9001261"/>
              <a:gd name="connsiteY2" fmla="*/ 0 h 4794125"/>
              <a:gd name="connsiteX3" fmla="*/ 9001261 w 9001261"/>
              <a:gd name="connsiteY3" fmla="*/ 4783492 h 4794125"/>
              <a:gd name="connsiteX4" fmla="*/ 2137382 w 9001261"/>
              <a:gd name="connsiteY4" fmla="*/ 4794125 h 4794125"/>
              <a:gd name="connsiteX5" fmla="*/ 1453304 w 9001261"/>
              <a:gd name="connsiteY5" fmla="*/ 3591308 h 4794125"/>
              <a:gd name="connsiteX6" fmla="*/ 6039 w 9001261"/>
              <a:gd name="connsiteY6" fmla="*/ 3579070 h 4794125"/>
              <a:gd name="connsiteX7" fmla="*/ 0 w 9001261"/>
              <a:gd name="connsiteY7" fmla="*/ 2526227 h 4794125"/>
              <a:gd name="connsiteX8" fmla="*/ 1438170 w 9001261"/>
              <a:gd name="connsiteY8" fmla="*/ 2534014 h 4794125"/>
              <a:gd name="connsiteX0" fmla="*/ 1450247 w 9013338"/>
              <a:gd name="connsiteY0" fmla="*/ 2534014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465381 w 9013338"/>
              <a:gd name="connsiteY5" fmla="*/ 3591308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34014 h 4794125"/>
              <a:gd name="connsiteX0" fmla="*/ 1450247 w 9013338"/>
              <a:gd name="connsiteY0" fmla="*/ 2507986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465381 w 9013338"/>
              <a:gd name="connsiteY5" fmla="*/ 3591308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07986 h 4794125"/>
              <a:gd name="connsiteX0" fmla="*/ 1450247 w 9013338"/>
              <a:gd name="connsiteY0" fmla="*/ 2516663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465381 w 9013338"/>
              <a:gd name="connsiteY5" fmla="*/ 3591308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16663 h 4794125"/>
              <a:gd name="connsiteX0" fmla="*/ 1450247 w 9013338"/>
              <a:gd name="connsiteY0" fmla="*/ 2534015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465381 w 9013338"/>
              <a:gd name="connsiteY5" fmla="*/ 3591308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34015 h 4794125"/>
              <a:gd name="connsiteX0" fmla="*/ 1450247 w 9013338"/>
              <a:gd name="connsiteY0" fmla="*/ 2534015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501613 w 9013338"/>
              <a:gd name="connsiteY5" fmla="*/ 3773510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34015 h 4794125"/>
              <a:gd name="connsiteX0" fmla="*/ 1450247 w 9013338"/>
              <a:gd name="connsiteY0" fmla="*/ 2534015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501613 w 9013338"/>
              <a:gd name="connsiteY5" fmla="*/ 3790863 h 4794125"/>
              <a:gd name="connsiteX6" fmla="*/ 0 w 9013338"/>
              <a:gd name="connsiteY6" fmla="*/ 3795977 h 4794125"/>
              <a:gd name="connsiteX7" fmla="*/ 12077 w 9013338"/>
              <a:gd name="connsiteY7" fmla="*/ 2526227 h 4794125"/>
              <a:gd name="connsiteX8" fmla="*/ 1450247 w 9013338"/>
              <a:gd name="connsiteY8" fmla="*/ 2534015 h 4794125"/>
              <a:gd name="connsiteX0" fmla="*/ 1450247 w 9013338"/>
              <a:gd name="connsiteY0" fmla="*/ 2534015 h 4794125"/>
              <a:gd name="connsiteX1" fmla="*/ 2140710 w 9013338"/>
              <a:gd name="connsiteY1" fmla="*/ 0 h 4794125"/>
              <a:gd name="connsiteX2" fmla="*/ 9013338 w 9013338"/>
              <a:gd name="connsiteY2" fmla="*/ 0 h 4794125"/>
              <a:gd name="connsiteX3" fmla="*/ 9013338 w 9013338"/>
              <a:gd name="connsiteY3" fmla="*/ 4783492 h 4794125"/>
              <a:gd name="connsiteX4" fmla="*/ 2149459 w 9013338"/>
              <a:gd name="connsiteY4" fmla="*/ 4794125 h 4794125"/>
              <a:gd name="connsiteX5" fmla="*/ 1501613 w 9013338"/>
              <a:gd name="connsiteY5" fmla="*/ 3790863 h 4794125"/>
              <a:gd name="connsiteX6" fmla="*/ 0 w 9013338"/>
              <a:gd name="connsiteY6" fmla="*/ 3795977 h 4794125"/>
              <a:gd name="connsiteX7" fmla="*/ 19626 w 9013338"/>
              <a:gd name="connsiteY7" fmla="*/ 2712901 h 4794125"/>
              <a:gd name="connsiteX8" fmla="*/ 1450247 w 9013338"/>
              <a:gd name="connsiteY8" fmla="*/ 2534015 h 4794125"/>
              <a:gd name="connsiteX0" fmla="*/ 1435150 w 8998241"/>
              <a:gd name="connsiteY0" fmla="*/ 2534015 h 4794125"/>
              <a:gd name="connsiteX1" fmla="*/ 2125613 w 8998241"/>
              <a:gd name="connsiteY1" fmla="*/ 0 h 4794125"/>
              <a:gd name="connsiteX2" fmla="*/ 8998241 w 8998241"/>
              <a:gd name="connsiteY2" fmla="*/ 0 h 4794125"/>
              <a:gd name="connsiteX3" fmla="*/ 8998241 w 8998241"/>
              <a:gd name="connsiteY3" fmla="*/ 4783492 h 4794125"/>
              <a:gd name="connsiteX4" fmla="*/ 2134362 w 8998241"/>
              <a:gd name="connsiteY4" fmla="*/ 4794125 h 4794125"/>
              <a:gd name="connsiteX5" fmla="*/ 1486516 w 8998241"/>
              <a:gd name="connsiteY5" fmla="*/ 3790863 h 4794125"/>
              <a:gd name="connsiteX6" fmla="*/ 0 w 8998241"/>
              <a:gd name="connsiteY6" fmla="*/ 3889314 h 4794125"/>
              <a:gd name="connsiteX7" fmla="*/ 4529 w 8998241"/>
              <a:gd name="connsiteY7" fmla="*/ 2712901 h 4794125"/>
              <a:gd name="connsiteX8" fmla="*/ 1435150 w 8998241"/>
              <a:gd name="connsiteY8" fmla="*/ 2534015 h 4794125"/>
              <a:gd name="connsiteX0" fmla="*/ 1435150 w 8998241"/>
              <a:gd name="connsiteY0" fmla="*/ 2534015 h 4794125"/>
              <a:gd name="connsiteX1" fmla="*/ 2125613 w 8998241"/>
              <a:gd name="connsiteY1" fmla="*/ 0 h 4794125"/>
              <a:gd name="connsiteX2" fmla="*/ 8998241 w 8998241"/>
              <a:gd name="connsiteY2" fmla="*/ 0 h 4794125"/>
              <a:gd name="connsiteX3" fmla="*/ 8998241 w 8998241"/>
              <a:gd name="connsiteY3" fmla="*/ 4783492 h 4794125"/>
              <a:gd name="connsiteX4" fmla="*/ 2134362 w 8998241"/>
              <a:gd name="connsiteY4" fmla="*/ 4794125 h 4794125"/>
              <a:gd name="connsiteX5" fmla="*/ 1486516 w 8998241"/>
              <a:gd name="connsiteY5" fmla="*/ 3884200 h 4794125"/>
              <a:gd name="connsiteX6" fmla="*/ 0 w 8998241"/>
              <a:gd name="connsiteY6" fmla="*/ 3889314 h 4794125"/>
              <a:gd name="connsiteX7" fmla="*/ 4529 w 8998241"/>
              <a:gd name="connsiteY7" fmla="*/ 2712901 h 4794125"/>
              <a:gd name="connsiteX8" fmla="*/ 1435150 w 8998241"/>
              <a:gd name="connsiteY8" fmla="*/ 2534015 h 4794125"/>
              <a:gd name="connsiteX0" fmla="*/ 1465344 w 8998241"/>
              <a:gd name="connsiteY0" fmla="*/ 2694020 h 4794125"/>
              <a:gd name="connsiteX1" fmla="*/ 2125613 w 8998241"/>
              <a:gd name="connsiteY1" fmla="*/ 0 h 4794125"/>
              <a:gd name="connsiteX2" fmla="*/ 8998241 w 8998241"/>
              <a:gd name="connsiteY2" fmla="*/ 0 h 4794125"/>
              <a:gd name="connsiteX3" fmla="*/ 8998241 w 8998241"/>
              <a:gd name="connsiteY3" fmla="*/ 4783492 h 4794125"/>
              <a:gd name="connsiteX4" fmla="*/ 2134362 w 8998241"/>
              <a:gd name="connsiteY4" fmla="*/ 4794125 h 4794125"/>
              <a:gd name="connsiteX5" fmla="*/ 1486516 w 8998241"/>
              <a:gd name="connsiteY5" fmla="*/ 3884200 h 4794125"/>
              <a:gd name="connsiteX6" fmla="*/ 0 w 8998241"/>
              <a:gd name="connsiteY6" fmla="*/ 3889314 h 4794125"/>
              <a:gd name="connsiteX7" fmla="*/ 4529 w 8998241"/>
              <a:gd name="connsiteY7" fmla="*/ 2712901 h 4794125"/>
              <a:gd name="connsiteX8" fmla="*/ 1465344 w 8998241"/>
              <a:gd name="connsiteY8" fmla="*/ 2694020 h 479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98241" h="4794125">
                <a:moveTo>
                  <a:pt x="1465344" y="2694020"/>
                </a:moveTo>
                <a:lnTo>
                  <a:pt x="2125613" y="0"/>
                </a:lnTo>
                <a:lnTo>
                  <a:pt x="8998241" y="0"/>
                </a:lnTo>
                <a:lnTo>
                  <a:pt x="8998241" y="4783492"/>
                </a:lnTo>
                <a:lnTo>
                  <a:pt x="2134362" y="4794125"/>
                </a:lnTo>
                <a:lnTo>
                  <a:pt x="1486516" y="3884200"/>
                </a:lnTo>
                <a:lnTo>
                  <a:pt x="0" y="3889314"/>
                </a:lnTo>
                <a:cubicBezTo>
                  <a:pt x="1510" y="3497176"/>
                  <a:pt x="3019" y="3105039"/>
                  <a:pt x="4529" y="2712901"/>
                </a:cubicBezTo>
                <a:lnTo>
                  <a:pt x="1465344" y="2694020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>
              <a:solidFill>
                <a:schemeClr val="tx1"/>
              </a:solidFill>
            </a:endParaRPr>
          </a:p>
        </p:txBody>
      </p:sp>
      <p:cxnSp>
        <p:nvCxnSpPr>
          <p:cNvPr id="41" name="Straight Connector 40"/>
          <p:cNvCxnSpPr/>
          <p:nvPr>
            <p:custDataLst>
              <p:tags r:id="rId4"/>
            </p:custDataLst>
          </p:nvPr>
        </p:nvCxnSpPr>
        <p:spPr bwMode="gray">
          <a:xfrm>
            <a:off x="8629650" y="2428875"/>
            <a:ext cx="2952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5"/>
            </p:custDataLst>
          </p:nvPr>
        </p:nvCxnSpPr>
        <p:spPr bwMode="gray">
          <a:xfrm>
            <a:off x="6562725" y="3714750"/>
            <a:ext cx="2952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6"/>
            </p:custDataLst>
          </p:nvPr>
        </p:nvCxnSpPr>
        <p:spPr bwMode="gray">
          <a:xfrm>
            <a:off x="7591425" y="2857500"/>
            <a:ext cx="2952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7"/>
            </p:custDataLst>
          </p:nvPr>
        </p:nvCxnSpPr>
        <p:spPr bwMode="gray">
          <a:xfrm>
            <a:off x="9658350" y="1990725"/>
            <a:ext cx="295275" cy="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Object 44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5562600" y="1866900"/>
          <a:ext cx="5381544" cy="3733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3" name="Chart" r:id="rId57" imgW="5378638" imgH="3733800" progId="MSGraph.Chart.8">
                  <p:embed followColorScheme="full"/>
                </p:oleObj>
              </mc:Choice>
              <mc:Fallback>
                <p:oleObj name="Chart" r:id="rId57" imgW="5378638" imgH="3733800" progId="MSGraph.Chart.8">
                  <p:embed followColorScheme="full"/>
                  <p:pic>
                    <p:nvPicPr>
                      <p:cNvPr id="45" name="Object 44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5562600" y="1866900"/>
                        <a:ext cx="5381544" cy="3733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7104063" y="2619375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1258F50A-38F5-4EBB-9DF6-58702F4B50F4}" type="datetime'''''''''''''''''3''''''''4'''''''''''''''''''">
              <a:rPr lang="en-US" altLang="en-US" sz="14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34</a:t>
            </a:fld>
            <a:endParaRPr lang="en-US" sz="1400" b="1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040438" y="4151313"/>
            <a:ext cx="301625" cy="21272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7F71C56-D66C-407B-B908-3ABE891655FE}" type="datetime'''''''''''3''''''%'''''">
              <a:rPr lang="en-US" altLang="en-US"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3%</a:t>
            </a:fld>
            <a:endParaRPr lang="en-US" sz="1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6070600" y="3438525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7FB23AD-DEE3-4A14-AEE8-521D607D1B5C}" type="datetime'''''''''''''''''''''''''''7''''''''''''''2'">
              <a:rPr lang="en-US" altLang="en-US" sz="14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72</a:t>
            </a:fld>
            <a:endParaRPr lang="en-US" sz="1400" b="1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2" name="Rectangle 7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0839450" y="3370263"/>
            <a:ext cx="4540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2CB670D-F384-4492-BE08-BE51F0B19523}" type="datetime'''''''A''''''''f''''''''''''r''''ic''''a'''''''''''''''''''''">
              <a:rPr lang="en-US" altLang="en-US" sz="140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>
                <a:buClr>
                  <a:srgbClr val="002960"/>
                </a:buClr>
              </a:pPr>
              <a:t>Africa</a:t>
            </a:fld>
            <a:endParaRPr lang="en-US" sz="140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7" name="Text Placeholder 39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155238" y="1752600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592FF0D6-FE6D-4935-96A8-D284493E874E}" type="datetime'''''''1''''''''''''''4''''''''1'''''''''''''''''''''''''''''">
              <a:rPr lang="en-US" altLang="en-US" sz="1400" b="1">
                <a:solidFill>
                  <a:schemeClr val="accent6"/>
                </a:solidFill>
              </a:rPr>
              <a:pPr algn="ctr">
                <a:buClr>
                  <a:srgbClr val="002960"/>
                </a:buClr>
              </a:pPr>
              <a:t>141</a:t>
            </a:fld>
            <a:endParaRPr lang="en-US" sz="1400" b="1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8" name="Text Placeholder 27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910638" y="5599113"/>
            <a:ext cx="763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F063200-2E61-4A1C-BF8A-09C45EC7AF11}" type="datetime'T''''''''''''r''''''''an''sp''''''''''o''''''''''''''''rt''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Transport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10839450" y="2132013"/>
            <a:ext cx="384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5BF99CC-A6B8-4DCB-84B7-B895F11FBCF6}" type="datetime'''''I''''''''''''''''''''''''''n''d''''i''''''''''''a'''''''">
              <a:rPr lang="en-US" altLang="en-US" sz="140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>
                <a:buClr>
                  <a:srgbClr val="002960"/>
                </a:buClr>
              </a:pPr>
              <a:t>India</a:t>
            </a:fld>
            <a:endParaRPr lang="en-US" sz="140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10839450" y="4451350"/>
            <a:ext cx="4349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49E4196-1870-4963-BCAA-840DB420CF2C}" type="datetime'''''''''''''''''''R''''''''''O''''''''''''''''''''''''W'''">
              <a:rPr lang="en-US" altLang="en-US" sz="140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>
                <a:buClr>
                  <a:srgbClr val="002960"/>
                </a:buClr>
              </a:pPr>
              <a:t>ROW</a:t>
            </a:fld>
            <a:endParaRPr lang="en-US" sz="140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0" name="Text Placeholder 277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121900" y="559911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9CD70E5-583D-4695-92F7-957CAE6EFA8A}" type="datetime'2''''''''0''''''''''''''''''''''5''''''''''''''''''0''''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2050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10125075" y="2803525"/>
            <a:ext cx="400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7572647-FCE1-40F5-9155-D7428BE4E030}" type="datetime'2''4''''''''''''''''%'''''''''''''''''''''''''''''''''''">
              <a:rPr lang="en-US" altLang="en-US" sz="14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24%</a:t>
            </a:fld>
            <a:endParaRPr lang="en-US" sz="14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0839450" y="2803525"/>
            <a:ext cx="4635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A633411-393E-4741-866D-5A98B5408A8D}" type="datetime'''C''''''''''''''''''''''''''h''''''''in''''''''''''''''''''a'">
              <a:rPr lang="en-US" altLang="en-US" sz="140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>
                <a:buClr>
                  <a:srgbClr val="002960"/>
                </a:buClr>
              </a:pPr>
              <a:t>China</a:t>
            </a:fld>
            <a:endParaRPr lang="en-US" sz="140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9170988" y="1752600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E400BF41-C6F4-4E48-BEEA-08D4BE56D310}" type="datetime'''''1''''''''''''''''8'''''''''''''''''''''''">
              <a:rPr lang="en-US" altLang="en-US" sz="14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18</a:t>
            </a:fld>
            <a:endParaRPr lang="en-US" sz="1400" b="1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6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937500" y="5599113"/>
            <a:ext cx="642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8D1C258-D205-45B9-B4B1-09A993B35800}" type="datetime'I''''''''''''''''nd''''''u''s''t''''''''''''''r''''''''y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Industry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10125075" y="2132013"/>
            <a:ext cx="400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F3E4D0D0-7013-4095-9B5A-100ABA59DB31}" type="datetime'''''''''''''''''''''''''''''''''''''''''''1''''''4%'''''''''''">
              <a:rPr lang="en-US" altLang="en-US"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14%</a:t>
            </a:fld>
            <a:endParaRPr lang="en-US" sz="1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10174288" y="3370263"/>
            <a:ext cx="301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949B2A8D-A35B-41DD-A0AB-0290E10CBEA3}" type="datetime'''''''''8''''''''%'''''''''''''''''''">
              <a:rPr lang="en-US" altLang="en-US" sz="14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8%</a:t>
            </a:fld>
            <a:endParaRPr lang="en-US" sz="14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137525" y="2190750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3225F0EB-35E1-4BC2-9A60-9F2FB0C27463}" type="datetime'''''''''''''''''''1''''''7'''''''''''''''''''''''''''''''''''">
              <a:rPr lang="en-US" altLang="en-US" sz="1400" b="1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17</a:t>
            </a:fld>
            <a:endParaRPr lang="en-US" sz="1400" b="1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6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858000" y="5599113"/>
            <a:ext cx="733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7CB8210A-F600-4AC8-8C3B-D53F76F69FBF}" type="datetime'B''''u''''i''l''''''''''''d''''i''''''''ngs''''''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Buildings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53" name="Text Placeholder 258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988050" y="559911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123CB85-98B3-4160-B0D1-0CE5D3503573}" type="datetime'''''''''''''2''''''''''01''''''''''''''''''''''''''4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2014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5991225" y="3908425"/>
            <a:ext cx="4000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A0208A36-A9B7-4224-827E-0F9A4F704FE9}" type="datetime'''2''''''''''''4''''%'''''''''''">
              <a:rPr lang="en-US" altLang="en-US" sz="140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24%</a:t>
            </a:fld>
            <a:endParaRPr lang="en-US" sz="14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7" name="Rectangle 66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6040438" y="3651250"/>
            <a:ext cx="301625" cy="2127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F447069E-BDF4-4BC2-B479-7C789D99EAC2}" type="datetime'''''''''''''''''''''''''''''''5%'''''''''''''''''''''''''''''">
              <a:rPr lang="en-US" altLang="en-US"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5%</a:t>
            </a:fld>
            <a:endParaRPr lang="en-US" sz="1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5679363" y="967532"/>
            <a:ext cx="5765623" cy="464393"/>
            <a:chOff x="6005199" y="967532"/>
            <a:chExt cx="5765623" cy="464393"/>
          </a:xfrm>
        </p:grpSpPr>
        <p:sp>
          <p:nvSpPr>
            <p:cNvPr id="10" name="AutoShape 250"/>
            <p:cNvSpPr>
              <a:spLocks noChangeArrowheads="1"/>
            </p:cNvSpPr>
            <p:nvPr/>
          </p:nvSpPr>
          <p:spPr bwMode="auto">
            <a:xfrm flipH="1">
              <a:off x="6005199" y="967532"/>
              <a:ext cx="5765623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 anchorCtr="0">
              <a:spAutoFit/>
            </a:bodyPr>
            <a:lstStyle/>
            <a:p>
              <a:r>
                <a:rPr lang="en-GB" sz="1400" b="1" dirty="0">
                  <a:solidFill>
                    <a:schemeClr val="accent2"/>
                  </a:solidFill>
                  <a:latin typeface="+mn-lt"/>
                </a:rPr>
                <a:t>Electricity demand</a:t>
              </a:r>
            </a:p>
            <a:p>
              <a:r>
                <a:rPr lang="en-GB" sz="1400" dirty="0">
                  <a:solidFill>
                    <a:schemeClr val="accent1"/>
                  </a:solidFill>
                  <a:latin typeface="+mn-lt"/>
                </a:rPr>
                <a:t>Million </a:t>
              </a:r>
              <a:r>
                <a:rPr lang="en-GB" sz="1400" dirty="0" err="1">
                  <a:solidFill>
                    <a:schemeClr val="accent1"/>
                  </a:solidFill>
                  <a:latin typeface="+mn-lt"/>
                </a:rPr>
                <a:t>terajoules</a:t>
              </a:r>
              <a:endParaRPr lang="en-GB" sz="1400" dirty="0">
                <a:solidFill>
                  <a:schemeClr val="accent1"/>
                </a:solidFill>
                <a:latin typeface="+mn-lt"/>
              </a:endParaRPr>
            </a:p>
          </p:txBody>
        </p:sp>
        <p:cxnSp>
          <p:nvCxnSpPr>
            <p:cNvPr id="120" name="Straight Connector 119"/>
            <p:cNvCxnSpPr>
              <a:cxnSpLocks/>
            </p:cNvCxnSpPr>
            <p:nvPr/>
          </p:nvCxnSpPr>
          <p:spPr>
            <a:xfrm>
              <a:off x="6005199" y="1431925"/>
              <a:ext cx="5765623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436" y="186348"/>
            <a:ext cx="10969498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lobal demand for electric power will almost double by 2050 as electrification continues to spread</a:t>
            </a:r>
          </a:p>
        </p:txBody>
      </p:sp>
      <p:sp>
        <p:nvSpPr>
          <p:cNvPr id="38" name="Oval 37"/>
          <p:cNvSpPr>
            <a:spLocks/>
          </p:cNvSpPr>
          <p:nvPr/>
        </p:nvSpPr>
        <p:spPr>
          <a:xfrm>
            <a:off x="4790506" y="2532972"/>
            <a:ext cx="781340" cy="439736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0.6%</a:t>
            </a:r>
          </a:p>
        </p:txBody>
      </p:sp>
      <p:sp>
        <p:nvSpPr>
          <p:cNvPr id="39" name="Oval 38"/>
          <p:cNvSpPr>
            <a:spLocks/>
          </p:cNvSpPr>
          <p:nvPr/>
        </p:nvSpPr>
        <p:spPr>
          <a:xfrm>
            <a:off x="4790506" y="4464050"/>
            <a:ext cx="781340" cy="439736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rgbClr val="FFFFFF"/>
                </a:solidFill>
                <a:cs typeface="Arial" panose="020B0604020202020204" pitchFamily="34" charset="0"/>
              </a:rPr>
              <a:t>1.9%</a:t>
            </a:r>
          </a:p>
        </p:txBody>
      </p:sp>
      <p:sp>
        <p:nvSpPr>
          <p:cNvPr id="78" name="Oval 77"/>
          <p:cNvSpPr>
            <a:spLocks/>
          </p:cNvSpPr>
          <p:nvPr/>
        </p:nvSpPr>
        <p:spPr>
          <a:xfrm>
            <a:off x="1564667" y="5723047"/>
            <a:ext cx="828137" cy="439736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18%</a:t>
            </a:r>
          </a:p>
        </p:txBody>
      </p:sp>
      <p:sp>
        <p:nvSpPr>
          <p:cNvPr id="79" name="Oval 78"/>
          <p:cNvSpPr>
            <a:spLocks/>
          </p:cNvSpPr>
          <p:nvPr/>
        </p:nvSpPr>
        <p:spPr>
          <a:xfrm>
            <a:off x="3752959" y="5723047"/>
            <a:ext cx="828137" cy="439736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26%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53634" y="5619750"/>
            <a:ext cx="97511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Electricity in final energy demand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475488" y="967532"/>
            <a:ext cx="4207501" cy="464393"/>
            <a:chOff x="158759" y="967532"/>
            <a:chExt cx="4207501" cy="464393"/>
          </a:xfrm>
        </p:grpSpPr>
        <p:sp>
          <p:nvSpPr>
            <p:cNvPr id="8" name="AutoShape 250"/>
            <p:cNvSpPr>
              <a:spLocks noChangeArrowheads="1"/>
            </p:cNvSpPr>
            <p:nvPr/>
          </p:nvSpPr>
          <p:spPr bwMode="auto">
            <a:xfrm>
              <a:off x="158759" y="967532"/>
              <a:ext cx="4207501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 anchorCtr="0">
              <a:spAutoFit/>
            </a:bodyPr>
            <a:lstStyle/>
            <a:p>
              <a:r>
                <a:rPr lang="en-US" sz="1400" b="1" dirty="0">
                  <a:solidFill>
                    <a:schemeClr val="accent2"/>
                  </a:solidFill>
                  <a:latin typeface="+mn-lt"/>
                </a:rPr>
                <a:t>Final energy demand</a:t>
              </a:r>
            </a:p>
            <a:p>
              <a:r>
                <a:rPr lang="en-US" sz="1400" dirty="0">
                  <a:solidFill>
                    <a:schemeClr val="accent1"/>
                  </a:solidFill>
                  <a:latin typeface="+mn-lt"/>
                </a:rPr>
                <a:t>Million </a:t>
              </a:r>
              <a:r>
                <a:rPr lang="en-US" sz="1400" dirty="0" err="1">
                  <a:solidFill>
                    <a:schemeClr val="accent1"/>
                  </a:solidFill>
                  <a:latin typeface="+mn-lt"/>
                </a:rPr>
                <a:t>terajoules</a:t>
              </a:r>
              <a:endParaRPr lang="en-US" sz="1400" dirty="0">
                <a:solidFill>
                  <a:schemeClr val="accent1"/>
                </a:solidFill>
                <a:latin typeface="+mn-lt"/>
              </a:endParaRPr>
            </a:p>
          </p:txBody>
        </p:sp>
        <p:cxnSp>
          <p:nvCxnSpPr>
            <p:cNvPr id="99" name="Straight Connector 98"/>
            <p:cNvCxnSpPr>
              <a:cxnSpLocks/>
            </p:cNvCxnSpPr>
            <p:nvPr/>
          </p:nvCxnSpPr>
          <p:spPr>
            <a:xfrm>
              <a:off x="158759" y="1431925"/>
              <a:ext cx="4207501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/>
          <p:cNvGrpSpPr>
            <a:grpSpLocks/>
          </p:cNvGrpSpPr>
          <p:nvPr/>
        </p:nvGrpSpPr>
        <p:grpSpPr>
          <a:xfrm>
            <a:off x="4790506" y="967532"/>
            <a:ext cx="781340" cy="464393"/>
            <a:chOff x="4476348" y="967532"/>
            <a:chExt cx="946366" cy="464393"/>
          </a:xfrm>
        </p:grpSpPr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4476348" y="967532"/>
              <a:ext cx="946366" cy="4493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 anchorCtr="0">
              <a:spAutoFit/>
            </a:bodyPr>
            <a:lstStyle/>
            <a:p>
              <a:r>
                <a:rPr lang="en-US" sz="1400" b="1" dirty="0" err="1">
                  <a:solidFill>
                    <a:schemeClr val="accent2"/>
                  </a:solidFill>
                  <a:latin typeface="+mn-lt"/>
                </a:rPr>
                <a:t>CAGR</a:t>
              </a:r>
              <a:endParaRPr lang="en-US" sz="1400" b="1" dirty="0">
                <a:solidFill>
                  <a:schemeClr val="accent2"/>
                </a:solidFill>
                <a:latin typeface="+mn-lt"/>
              </a:endParaRPr>
            </a:p>
            <a:p>
              <a:r>
                <a:rPr lang="en-US" sz="1400" dirty="0">
                  <a:solidFill>
                    <a:schemeClr val="accent1"/>
                  </a:solidFill>
                  <a:latin typeface="+mn-lt"/>
                </a:rPr>
                <a:t>2014-50</a:t>
              </a:r>
            </a:p>
          </p:txBody>
        </p:sp>
        <p:cxnSp>
          <p:nvCxnSpPr>
            <p:cNvPr id="121" name="Straight Connector 120"/>
            <p:cNvCxnSpPr>
              <a:cxnSpLocks/>
            </p:cNvCxnSpPr>
            <p:nvPr/>
          </p:nvCxnSpPr>
          <p:spPr>
            <a:xfrm>
              <a:off x="4476348" y="1431925"/>
              <a:ext cx="946366" cy="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5. Source"/>
          <p:cNvSpPr>
            <a:spLocks noChangeArrowheads="1"/>
          </p:cNvSpPr>
          <p:nvPr/>
        </p:nvSpPr>
        <p:spPr bwMode="gray">
          <a:xfrm>
            <a:off x="475488" y="6508272"/>
            <a:ext cx="1096949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en-GB" sz="800" dirty="0">
                <a:solidFill>
                  <a:schemeClr val="accent6"/>
                </a:solidFill>
                <a:latin typeface="+mn-lt"/>
              </a:rPr>
              <a:t>SOURCE: McKinsey Energy Insights’ Global Energy Perspective, July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graphicFrame>
        <p:nvGraphicFramePr>
          <p:cNvPr id="12" name="Object 11"/>
          <p:cNvGraphicFramePr>
            <a:graphicFrameLocks/>
          </p:cNvGraphicFramePr>
          <p:nvPr>
            <p:custDataLst>
              <p:tags r:id="rId29"/>
            </p:custDataLst>
            <p:extLst/>
          </p:nvPr>
        </p:nvGraphicFramePr>
        <p:xfrm>
          <a:off x="1295400" y="1638300"/>
          <a:ext cx="3486018" cy="3705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74" name="Chart" r:id="rId59" imgW="3486125" imgH="3702269" progId="MSGraph.Chart.8">
                  <p:embed followColorScheme="full"/>
                </p:oleObj>
              </mc:Choice>
              <mc:Fallback>
                <p:oleObj name="Chart" r:id="rId59" imgW="3486125" imgH="3702269" progId="MSGraph.Chart.8">
                  <p:embed followColorScheme="full"/>
                  <p:pic>
                    <p:nvPicPr>
                      <p:cNvPr id="12" name="Object 11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295400" y="1638300"/>
                        <a:ext cx="3486018" cy="3705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9" name="Freeform 108"/>
          <p:cNvSpPr/>
          <p:nvPr>
            <p:custDataLst>
              <p:tags r:id="rId30"/>
            </p:custDataLst>
          </p:nvPr>
        </p:nvSpPr>
        <p:spPr bwMode="auto">
          <a:xfrm>
            <a:off x="1517650" y="3375025"/>
            <a:ext cx="895351" cy="298451"/>
          </a:xfrm>
          <a:custGeom>
            <a:avLst/>
            <a:gdLst/>
            <a:ahLst/>
            <a:cxnLst/>
            <a:rect l="0" t="0" r="0" b="0"/>
            <a:pathLst>
              <a:path w="895351" h="298451">
                <a:moveTo>
                  <a:pt x="0" y="241300"/>
                </a:moveTo>
                <a:lnTo>
                  <a:pt x="895350" y="0"/>
                </a:lnTo>
                <a:lnTo>
                  <a:pt x="895350" y="57150"/>
                </a:lnTo>
                <a:lnTo>
                  <a:pt x="0" y="29845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115" name="Freeform 114"/>
          <p:cNvSpPr/>
          <p:nvPr>
            <p:custDataLst>
              <p:tags r:id="rId31"/>
            </p:custDataLst>
          </p:nvPr>
        </p:nvSpPr>
        <p:spPr bwMode="auto">
          <a:xfrm>
            <a:off x="3690938" y="3375025"/>
            <a:ext cx="895351" cy="298451"/>
          </a:xfrm>
          <a:custGeom>
            <a:avLst/>
            <a:gdLst/>
            <a:ahLst/>
            <a:cxnLst/>
            <a:rect l="0" t="0" r="0" b="0"/>
            <a:pathLst>
              <a:path w="895351" h="298451">
                <a:moveTo>
                  <a:pt x="0" y="241300"/>
                </a:moveTo>
                <a:lnTo>
                  <a:pt x="895350" y="0"/>
                </a:lnTo>
                <a:lnTo>
                  <a:pt x="895350" y="57150"/>
                </a:lnTo>
                <a:lnTo>
                  <a:pt x="0" y="29845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 useBgFill="1">
        <p:nvSpPr>
          <p:cNvPr id="112" name="Freeform 111"/>
          <p:cNvSpPr/>
          <p:nvPr>
            <p:custDataLst>
              <p:tags r:id="rId32"/>
            </p:custDataLst>
          </p:nvPr>
        </p:nvSpPr>
        <p:spPr bwMode="auto">
          <a:xfrm>
            <a:off x="2605088" y="3375025"/>
            <a:ext cx="893763" cy="298451"/>
          </a:xfrm>
          <a:custGeom>
            <a:avLst/>
            <a:gdLst/>
            <a:ahLst/>
            <a:cxnLst/>
            <a:rect l="0" t="0" r="0" b="0"/>
            <a:pathLst>
              <a:path w="893763" h="298451">
                <a:moveTo>
                  <a:pt x="0" y="241300"/>
                </a:moveTo>
                <a:lnTo>
                  <a:pt x="893762" y="0"/>
                </a:lnTo>
                <a:lnTo>
                  <a:pt x="893762" y="57150"/>
                </a:lnTo>
                <a:lnTo>
                  <a:pt x="0" y="29845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1" name="Freeform 110"/>
          <p:cNvSpPr/>
          <p:nvPr>
            <p:custDataLst>
              <p:tags r:id="rId33"/>
            </p:custDataLst>
          </p:nvPr>
        </p:nvSpPr>
        <p:spPr bwMode="auto">
          <a:xfrm>
            <a:off x="2605088" y="3432175"/>
            <a:ext cx="893763" cy="241301"/>
          </a:xfrm>
          <a:custGeom>
            <a:avLst/>
            <a:gdLst/>
            <a:ahLst/>
            <a:cxnLst/>
            <a:rect l="0" t="0" r="0" b="0"/>
            <a:pathLst>
              <a:path w="893763" h="241301">
                <a:moveTo>
                  <a:pt x="0" y="241300"/>
                </a:moveTo>
                <a:lnTo>
                  <a:pt x="893762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Freeform 113"/>
          <p:cNvSpPr/>
          <p:nvPr>
            <p:custDataLst>
              <p:tags r:id="rId34"/>
            </p:custDataLst>
          </p:nvPr>
        </p:nvSpPr>
        <p:spPr bwMode="auto">
          <a:xfrm>
            <a:off x="3690938" y="3432175"/>
            <a:ext cx="895351" cy="241301"/>
          </a:xfrm>
          <a:custGeom>
            <a:avLst/>
            <a:gdLst/>
            <a:ahLst/>
            <a:cxnLst/>
            <a:rect l="0" t="0" r="0" b="0"/>
            <a:pathLst>
              <a:path w="895351" h="241301">
                <a:moveTo>
                  <a:pt x="0" y="241300"/>
                </a:moveTo>
                <a:lnTo>
                  <a:pt x="8953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Freeform 112"/>
          <p:cNvSpPr/>
          <p:nvPr>
            <p:custDataLst>
              <p:tags r:id="rId35"/>
            </p:custDataLst>
          </p:nvPr>
        </p:nvSpPr>
        <p:spPr bwMode="auto">
          <a:xfrm>
            <a:off x="3690938" y="3375025"/>
            <a:ext cx="895351" cy="241301"/>
          </a:xfrm>
          <a:custGeom>
            <a:avLst/>
            <a:gdLst/>
            <a:ahLst/>
            <a:cxnLst/>
            <a:rect l="0" t="0" r="0" b="0"/>
            <a:pathLst>
              <a:path w="895351" h="241301">
                <a:moveTo>
                  <a:pt x="0" y="241300"/>
                </a:moveTo>
                <a:lnTo>
                  <a:pt x="8953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Freeform 107"/>
          <p:cNvSpPr/>
          <p:nvPr>
            <p:custDataLst>
              <p:tags r:id="rId36"/>
            </p:custDataLst>
          </p:nvPr>
        </p:nvSpPr>
        <p:spPr bwMode="auto">
          <a:xfrm>
            <a:off x="1517650" y="3432175"/>
            <a:ext cx="895351" cy="241301"/>
          </a:xfrm>
          <a:custGeom>
            <a:avLst/>
            <a:gdLst/>
            <a:ahLst/>
            <a:cxnLst/>
            <a:rect l="0" t="0" r="0" b="0"/>
            <a:pathLst>
              <a:path w="895351" h="241301">
                <a:moveTo>
                  <a:pt x="0" y="241300"/>
                </a:moveTo>
                <a:lnTo>
                  <a:pt x="8953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Freeform 106"/>
          <p:cNvSpPr/>
          <p:nvPr>
            <p:custDataLst>
              <p:tags r:id="rId37"/>
            </p:custDataLst>
          </p:nvPr>
        </p:nvSpPr>
        <p:spPr bwMode="auto">
          <a:xfrm>
            <a:off x="1517650" y="3375025"/>
            <a:ext cx="895351" cy="241301"/>
          </a:xfrm>
          <a:custGeom>
            <a:avLst/>
            <a:gdLst/>
            <a:ahLst/>
            <a:cxnLst/>
            <a:rect l="0" t="0" r="0" b="0"/>
            <a:pathLst>
              <a:path w="895351" h="241301">
                <a:moveTo>
                  <a:pt x="0" y="241300"/>
                </a:moveTo>
                <a:lnTo>
                  <a:pt x="895350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" name="Freeform 109"/>
          <p:cNvSpPr/>
          <p:nvPr>
            <p:custDataLst>
              <p:tags r:id="rId38"/>
            </p:custDataLst>
          </p:nvPr>
        </p:nvSpPr>
        <p:spPr bwMode="auto">
          <a:xfrm>
            <a:off x="2605088" y="3375025"/>
            <a:ext cx="893763" cy="241301"/>
          </a:xfrm>
          <a:custGeom>
            <a:avLst/>
            <a:gdLst/>
            <a:ahLst/>
            <a:cxnLst/>
            <a:rect l="0" t="0" r="0" b="0"/>
            <a:pathLst>
              <a:path w="893763" h="241301">
                <a:moveTo>
                  <a:pt x="0" y="241300"/>
                </a:moveTo>
                <a:lnTo>
                  <a:pt x="893762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6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935413" y="535146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C9378A9-75F6-4197-B17F-037526BEA2CC}" type="datetime'2''05''''''''''''''''''0''''''''''''''''''''''''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2050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8" name="Text Placeholder 42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3968750" y="15144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8554E192-1672-401E-B526-BE5BE89BD724}" type="datetime'''''5''''''''''''''4''''''''''''''''''''''''''''''''3'''''''">
              <a:rPr lang="en-US" altLang="en-US" sz="1400">
                <a:solidFill>
                  <a:schemeClr val="accent6"/>
                </a:solidFill>
                <a:latin typeface="+mn-lt"/>
                <a:sym typeface="+mn-lt"/>
              </a:rPr>
              <a:pPr algn="ctr">
                <a:buClr>
                  <a:srgbClr val="002960"/>
                </a:buClr>
              </a:pPr>
              <a:t>543</a:t>
            </a:fld>
            <a:endParaRPr lang="en-US" sz="1400" dirty="0">
              <a:solidFill>
                <a:schemeClr val="accent6"/>
              </a:solidFill>
              <a:latin typeface="+mn-lt"/>
              <a:sym typeface="+mn-lt"/>
            </a:endParaRPr>
          </a:p>
        </p:txBody>
      </p:sp>
      <p:sp>
        <p:nvSpPr>
          <p:cNvPr id="25" name="Text Placeholder 11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844800" y="535146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69305B4-D2CA-41F3-A097-30220740C200}" type="datetime'''''''2''''''''''''''0''''''''''''''''''''''35'''''''''''">
              <a:rPr lang="en-US" altLang="en-US" sz="1400">
                <a:solidFill>
                  <a:schemeClr val="accent6"/>
                </a:solidFill>
                <a:cs typeface="+mn-cs"/>
                <a:sym typeface="+mn-lt"/>
              </a:rPr>
              <a:pPr>
                <a:buClr>
                  <a:srgbClr val="002960"/>
                </a:buClr>
              </a:pPr>
              <a:t>2035</a:t>
            </a:fld>
            <a:endParaRPr lang="en-US" sz="1400" dirty="0">
              <a:solidFill>
                <a:schemeClr val="accent6"/>
              </a:solidFill>
              <a:cs typeface="+mn-cs"/>
              <a:sym typeface="+mn-lt"/>
            </a:endParaRPr>
          </a:p>
        </p:txBody>
      </p:sp>
      <p:sp>
        <p:nvSpPr>
          <p:cNvPr id="30" name="Text Placeholder 113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878138" y="3094038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DDDBE380-E5AB-46D1-B45F-AC365CF70DE7}" type="datetime'''3''''''''''''''''''''''''''''''''''''''''''''''''7''''''''7'">
              <a:rPr lang="en-US" altLang="en-US" sz="1400">
                <a:solidFill>
                  <a:schemeClr val="bg1"/>
                </a:solidFill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377</a:t>
            </a:fld>
            <a:endParaRPr lang="en-US" sz="1400" dirty="0">
              <a:solidFill>
                <a:schemeClr val="bg1"/>
              </a:solidFill>
              <a:cs typeface="+mn-cs"/>
              <a:sym typeface="+mn-lt"/>
            </a:endParaRPr>
          </a:p>
        </p:txBody>
      </p:sp>
      <p:sp>
        <p:nvSpPr>
          <p:cNvPr id="31" name="Text Placeholder 16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754188" y="5351463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3955020-D1F2-4280-9DE8-3229A14176EE}" type="datetime'2''''''''''01''''''''''''''''''4'''''''">
              <a:rPr lang="en-US" altLang="en-US" sz="1400">
                <a:solidFill>
                  <a:schemeClr val="accent6"/>
                </a:solidFill>
                <a:sym typeface="+mn-lt"/>
              </a:rPr>
              <a:pPr>
                <a:buClr>
                  <a:srgbClr val="002960"/>
                </a:buClr>
              </a:pPr>
              <a:t>2014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23" name="Rectangle 22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1836738" y="4746625"/>
            <a:ext cx="241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59CA4FE3-0BC0-407A-8CEC-0D38C93292C5}" type="datetime'''''''''''''''''''''7''''''''''''''''''''''''2'">
              <a:rPr lang="en-US" altLang="en-US" sz="1400" b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72</a:t>
            </a:fld>
            <a:endParaRPr lang="en-US" sz="1400" b="1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2887663" y="4537075"/>
            <a:ext cx="3206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C19025B2-2716-4FA7-AA7C-2946F6B1449E}" type="datetime'''''1''''''''''''''''''1''''''''1'''''''">
              <a:rPr lang="en-US" altLang="en-US" sz="1400" b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111</a:t>
            </a:fld>
            <a:endParaRPr lang="en-US" sz="1400" b="1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2" name="Text Placeholder 62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787525" y="31146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6E08E4E6-3B4A-4901-9C0D-D317004E3AA6}" type="datetime'''''''''''''''''''''''''''3''''''9''''''''7'''''">
              <a:rPr lang="en-US" altLang="en-US" sz="140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397</a:t>
            </a:fld>
            <a:endParaRPr lang="en-US" sz="140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3" name="Text Placeholder 61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787525" y="3798888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D9C30CE9-2620-4C97-A1F5-46677C6A5DDE}" type="datetime'''''''''''''''''''''''''''''''3''''''''''''''2''''''5'''''">
              <a:rPr lang="en-US" altLang="en-US"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325</a:t>
            </a:fld>
            <a:endParaRPr lang="en-US" sz="1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71488" y="3798888"/>
            <a:ext cx="442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2869126B-4091-4272-8D9F-EA03EF24909D}" type="datetime'''''Ot''''''''''''''''''h''''e''''''''r'''''''''''''''''">
              <a:rPr lang="en-US" altLang="en-US" sz="140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Other</a:t>
            </a:fld>
            <a:endParaRPr lang="en-US" sz="1400" dirty="0"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71488" y="4746625"/>
            <a:ext cx="95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defRPr lang="x-none" sz="1600" b="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2pPr>
            <a:lvl3pPr marL="384175" indent="-2127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–"/>
              <a:defRPr lang="x-none" sz="1600" b="0" baseline="0">
                <a:solidFill>
                  <a:schemeClr val="accent6"/>
                </a:solidFill>
                <a:latin typeface="+mn-lt"/>
              </a:defRPr>
            </a:lvl3pPr>
            <a:lvl4pPr marL="527050" indent="-149225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buFont typeface="Arial" panose="020B0604020202020204" pitchFamily="34" charset="0"/>
              <a:buChar char="▫"/>
              <a:defRPr lang="x-none" sz="1600" b="0" baseline="0">
                <a:solidFill>
                  <a:schemeClr val="accent6"/>
                </a:solidFill>
                <a:latin typeface="+mn-lt"/>
              </a:defRPr>
            </a:lvl4pPr>
            <a:lvl5pPr marL="692150" indent="-158750" algn="l" defTabSz="895395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89000"/>
              <a:buFont typeface="Arial" panose="020B0604020202020204" pitchFamily="34" charset="0"/>
              <a:buChar char="-"/>
              <a:tabLst/>
              <a:defRPr lang="x-none" sz="1600" b="0" baseline="0">
                <a:solidFill>
                  <a:schemeClr val="accent6"/>
                </a:solidFill>
                <a:latin typeface="+mn-lt"/>
              </a:defRPr>
            </a:lvl5pPr>
            <a:lvl6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46" indent="-130181" algn="l" defTabSz="89539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fld id="{8C749DEA-8489-438A-A6DD-9E2427D1C54B}" type="datetime'E''l''e''ct''''''''''''''''''r''''ici''''''t''''''''y'''''">
              <a:rPr lang="en-US" altLang="en-US" sz="14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t>Electricity</a:t>
            </a:fld>
            <a:r>
              <a:rPr lang="en-US" altLang="en-US" sz="1400" dirty="0">
                <a:sym typeface="+mn-lt"/>
              </a:rPr>
              <a:t>    </a:t>
            </a:r>
            <a:endParaRPr lang="en-US" sz="1400" dirty="0">
              <a:sym typeface="+mn-lt"/>
            </a:endParaRPr>
          </a:p>
        </p:txBody>
      </p:sp>
      <p:sp>
        <p:nvSpPr>
          <p:cNvPr id="26" name="Text Placeholder 114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878138" y="2124075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E7DF151D-28A6-40D5-908A-B2068C275C9A}" type="datetime'''4''8''''''''''''''''''''''''7'''''''''''''''''''''''''">
              <a:rPr lang="en-US" altLang="en-US" sz="1400">
                <a:solidFill>
                  <a:schemeClr val="accent6"/>
                </a:solidFill>
                <a:cs typeface="+mn-cs"/>
              </a:rPr>
              <a:pPr algn="ctr">
                <a:buClr>
                  <a:srgbClr val="002960"/>
                </a:buClr>
              </a:pPr>
              <a:t>487</a:t>
            </a:fld>
            <a:endParaRPr lang="en-US" sz="1400" dirty="0">
              <a:solidFill>
                <a:schemeClr val="accent6"/>
              </a:solidFill>
              <a:cs typeface="+mn-cs"/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3968750" y="4370388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BDDA2A86-07FF-4085-A6D0-E3DD87A4B472}" type="datetime'''''''''''''''''''''1''4''''''''''''''''1'''''''''''''">
              <a:rPr lang="en-US" altLang="en-US" sz="1400" b="1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141</a:t>
            </a:fld>
            <a:endParaRPr lang="en-US" sz="1400" b="1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Text Placeholder 96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968750" y="2622550"/>
            <a:ext cx="3397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F4DF0605-B713-4F13-9601-8F2C3FD365EE}" type="datetime'''4''''''''''''''0''''''''''2'''''''">
              <a:rPr lang="en-US" altLang="en-US" sz="1400">
                <a:solidFill>
                  <a:schemeClr val="bg1"/>
                </a:solidFill>
                <a:cs typeface="+mn-cs"/>
                <a:sym typeface="+mn-lt"/>
              </a:rPr>
              <a:pPr algn="ctr">
                <a:buClr>
                  <a:srgbClr val="002960"/>
                </a:buClr>
              </a:pPr>
              <a:t>402</a:t>
            </a:fld>
            <a:endParaRPr lang="en-US" sz="1400" dirty="0">
              <a:solidFill>
                <a:schemeClr val="bg1"/>
              </a:solidFill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832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0" name="think-cell Slide" r:id="rId46" imgW="629" imgH="631" progId="TCLayout.ActiveDocument.1">
                  <p:embed/>
                </p:oleObj>
              </mc:Choice>
              <mc:Fallback>
                <p:oleObj name="think-cell Slide" r:id="rId46" imgW="629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12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475487" y="1134533"/>
            <a:ext cx="10969499" cy="497122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75487" y="230189"/>
            <a:ext cx="10969498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ym typeface="Arial" panose="020B0604020202020204" pitchFamily="34" charset="0"/>
              </a:rPr>
              <a:t>A cleaner, more diverse power mix evolves in the longer-term as a result of increasing renewables penetration</a:t>
            </a:r>
            <a:endParaRPr lang="de-CH" dirty="0"/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gray">
          <a:xfrm>
            <a:off x="475488" y="6508272"/>
            <a:ext cx="7200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11175" indent="-511175" defTabSz="895395"/>
            <a:r>
              <a:rPr lang="x-none" sz="800" dirty="0">
                <a:solidFill>
                  <a:schemeClr val="accent6"/>
                </a:solidFill>
                <a:latin typeface="+mn-lt"/>
              </a:rPr>
              <a:t>SOURCE: </a:t>
            </a:r>
            <a:r>
              <a:rPr lang="en-GB" sz="800" dirty="0">
                <a:solidFill>
                  <a:schemeClr val="accent6"/>
                </a:solidFill>
                <a:latin typeface="+mn-lt"/>
              </a:rPr>
              <a:t>Generated by McKinsey Energy Insights’ Global Energy Perspectives Model for CPPIB, September 2017</a:t>
            </a:r>
            <a:endParaRPr lang="en-US" sz="8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612901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x-none" dirty="0"/>
              <a:t>Unit of measure</a:t>
            </a:r>
          </a:p>
        </p:txBody>
      </p:sp>
      <p:cxnSp>
        <p:nvCxnSpPr>
          <p:cNvPr id="3" name="Straight Connector 2"/>
          <p:cNvCxnSpPr/>
          <p:nvPr>
            <p:custDataLst>
              <p:tags r:id="rId4"/>
            </p:custDataLst>
          </p:nvPr>
        </p:nvCxnSpPr>
        <p:spPr bwMode="white">
          <a:xfrm flipV="1">
            <a:off x="8102600" y="1824038"/>
            <a:ext cx="0" cy="3870325"/>
          </a:xfrm>
          <a:prstGeom prst="line">
            <a:avLst/>
          </a:prstGeom>
          <a:ln w="9525">
            <a:solidFill>
              <a:schemeClr val="bg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622300" y="1727201"/>
          <a:ext cx="7582113" cy="406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91" name="Chart" r:id="rId48" imgW="7582113" imgH="4063825" progId="MSGraph.Chart.8">
                  <p:embed followColorScheme="full"/>
                </p:oleObj>
              </mc:Choice>
              <mc:Fallback>
                <p:oleObj name="Chart" r:id="rId48" imgW="7582113" imgH="4063825" progId="MSGraph.Chart.8">
                  <p:embed followColorScheme="full"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622300" y="1727201"/>
                        <a:ext cx="7582113" cy="4063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535863" y="162083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A43888B-D5A2-4848-9C23-F129C4B721D2}" type="datetime'''''''''''48'">
              <a:rPr lang="en-CA" altLang="en-US" sz="1200">
                <a:solidFill>
                  <a:schemeClr val="accent6"/>
                </a:solidFill>
              </a:rPr>
              <a:pPr/>
              <a:t>48</a:t>
            </a:fld>
            <a:endParaRPr lang="en-CA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64425" y="577850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F092694-A411-4027-8AEB-90CEC6242E35}" type="datetime'''''''''''''''''''2''''''''''0''50'''''''''''''">
              <a:rPr lang="en-US" altLang="en-US" sz="1200">
                <a:solidFill>
                  <a:schemeClr val="accent6"/>
                </a:solidFill>
              </a:rPr>
              <a:pPr/>
              <a:t>205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627813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901808E-CD8F-429C-AB07-7C5A0AAE9C14}" type="datetime'''''''''''''''''4''''5'''''''''''''''''''''''''">
              <a:rPr lang="en-US" altLang="en-US" sz="1200">
                <a:solidFill>
                  <a:schemeClr val="accent6"/>
                </a:solidFill>
              </a:rPr>
              <a:pPr/>
              <a:t>45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14538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50F9086-3AD7-4F7F-AB3C-766623DE05F2}" type="datetime'''''''''''''''''2''''''''''''''''''''''''''''0'''''''''''''">
              <a:rPr lang="en-US" altLang="en-US" sz="1200">
                <a:solidFill>
                  <a:schemeClr val="accent6"/>
                </a:solidFill>
              </a:rPr>
              <a:pPr/>
              <a:t>2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001838" y="34559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1136D9C-B25C-4D2B-BD4B-6BC766AD7CBC}" type="datetime'''''''''''2''''''''''''''''''''5'''''''''">
              <a:rPr lang="en-GB" altLang="en-US" sz="1200">
                <a:solidFill>
                  <a:schemeClr val="accent6"/>
                </a:solidFill>
              </a:rPr>
              <a:pPr/>
              <a:t>25</a:t>
            </a:fld>
            <a:endParaRPr lang="en-GB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938463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6F40B90-43CB-4B2C-B2CF-BA4FFBCBAF05}" type="datetime'2''''''''''''''''''''''''''''''''5'''''''''''''''''''''''''''">
              <a:rPr lang="en-US" altLang="en-US" sz="1200">
                <a:solidFill>
                  <a:schemeClr val="accent6"/>
                </a:solidFill>
              </a:rPr>
              <a:pPr/>
              <a:t>25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25763" y="320833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2F2FEC0-2F27-449F-A99E-27BD21E537C6}" type="datetime'''''''''''''''''''''''''''2''''''''''''''''''8'''''''''''''">
              <a:rPr lang="en-GB" altLang="en-US" sz="1200">
                <a:solidFill>
                  <a:schemeClr val="accent6"/>
                </a:solidFill>
              </a:rPr>
              <a:pPr/>
              <a:t>28</a:t>
            </a:fld>
            <a:endParaRPr lang="en-GB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06475" y="577850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40DE0BF-5732-464D-88B8-4ACA04468DA1}" type="datetime'''2''''''''''''''''''''''''0''1''''''''3'''''''''''''''''''''">
              <a:rPr lang="en-US" altLang="en-US" sz="1200">
                <a:solidFill>
                  <a:schemeClr val="accent6"/>
                </a:solidFill>
              </a:rPr>
              <a:pPr/>
              <a:t>2013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77913" y="36718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F5922C5-59C9-4701-9A6D-E2A3A662B4C4}" type="datetime'''''''''''''''''''''''''2''''''''''3'''''''''''''''''">
              <a:rPr lang="en-CA" altLang="en-US" sz="1200">
                <a:solidFill>
                  <a:schemeClr val="accent6"/>
                </a:solidFill>
              </a:rPr>
              <a:pPr/>
              <a:t>23</a:t>
            </a:fld>
            <a:endParaRPr lang="en-CA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691188" y="23383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D9DD7DF-40E7-4CCB-A2B9-D8D09EF4BD2C}" type="datetime'''''''''''''''''''''''''''''''''''''''''3''''''9'''''''">
              <a:rPr lang="en-GB" altLang="en-US" sz="1200">
                <a:solidFill>
                  <a:schemeClr val="accent6"/>
                </a:solidFill>
              </a:rPr>
              <a:pPr/>
              <a:t>39</a:t>
            </a:fld>
            <a:endParaRPr lang="en-GB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703888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36A19A1-C5BE-487D-86DC-CB0EBAF7EA69}" type="datetime'''''4''''''''''''''''0'''''''''''''''''''''''''''''''''">
              <a:rPr lang="en-US" altLang="en-US" sz="1200">
                <a:solidFill>
                  <a:schemeClr val="accent6"/>
                </a:solidFill>
              </a:rPr>
              <a:pPr/>
              <a:t>4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79963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270AD7B-F778-488A-AF26-339890B42D4A}" type="datetime'''''3''''''''''''''''''''''''''''''5'''''''''''''">
              <a:rPr lang="en-US" altLang="en-US" sz="1200">
                <a:solidFill>
                  <a:schemeClr val="accent6"/>
                </a:solidFill>
              </a:rPr>
              <a:pPr/>
              <a:t>35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5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615113" y="19954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B198C76-03C5-4689-B10E-EF56D99E7F9E}" type="datetime'''''''''4''''''''''''''4'''''''''''''''''''''''''''''">
              <a:rPr lang="en-GB" altLang="en-US" sz="1200">
                <a:solidFill>
                  <a:schemeClr val="accent6"/>
                </a:solidFill>
              </a:rPr>
              <a:pPr/>
              <a:t>44</a:t>
            </a:fld>
            <a:endParaRPr lang="en-GB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767263" y="268128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594862D-6019-48AD-94A4-EB6C04A98907}" type="datetime'3''''''5'''''''''''''''''''''''''''''''''''''">
              <a:rPr lang="en-CA" altLang="en-US" sz="1200">
                <a:solidFill>
                  <a:schemeClr val="accent6"/>
                </a:solidFill>
              </a:rPr>
              <a:pPr/>
              <a:t>35</a:t>
            </a:fld>
            <a:endParaRPr lang="en-CA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846513" y="2941638"/>
            <a:ext cx="206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D73986B-A16C-477A-A9E9-C102F4748892}" type="datetime'''''''''''32'">
              <a:rPr lang="en-GB" altLang="en-US" sz="1200">
                <a:solidFill>
                  <a:schemeClr val="accent6"/>
                </a:solidFill>
              </a:rPr>
              <a:pPr/>
              <a:t>32</a:t>
            </a:fld>
            <a:endParaRPr lang="en-GB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859213" y="5778500"/>
            <a:ext cx="180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FF29ED7-AF2A-422C-9E3A-8756ACBC4F88}" type="datetime'3''''''''''''''''''0'''''''''''''''''''''">
              <a:rPr lang="en-US" altLang="en-US" sz="1200">
                <a:solidFill>
                  <a:schemeClr val="accent6"/>
                </a:solidFill>
              </a:rPr>
              <a:pPr/>
              <a:t>30</a:t>
            </a:fld>
            <a:endParaRPr lang="en-US" sz="12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85" name="Oval 177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9051832" y="5528138"/>
            <a:ext cx="576346" cy="2792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1.6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87" name="Oval 177"/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9051832" y="4790649"/>
            <a:ext cx="576346" cy="2792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0.3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88" name="Oval 177"/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9051832" y="4107427"/>
            <a:ext cx="576346" cy="27927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1.4%</a:t>
            </a:r>
            <a:endParaRPr lang="en-GB" sz="1200" dirty="0"/>
          </a:p>
        </p:txBody>
      </p:sp>
      <p:sp>
        <p:nvSpPr>
          <p:cNvPr id="186" name="Oval 177"/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9051832" y="3611039"/>
            <a:ext cx="576346" cy="279279"/>
          </a:xfrm>
          <a:prstGeom prst="ellipse">
            <a:avLst/>
          </a:prstGeom>
          <a:solidFill>
            <a:srgbClr val="FFB38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1.8%</a:t>
            </a:r>
            <a:endParaRPr lang="en-GB" sz="1200" dirty="0"/>
          </a:p>
        </p:txBody>
      </p:sp>
      <p:sp>
        <p:nvSpPr>
          <p:cNvPr id="182" name="Oval 177"/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9051832" y="2826275"/>
            <a:ext cx="576346" cy="279279"/>
          </a:xfrm>
          <a:prstGeom prst="ellipse">
            <a:avLst/>
          </a:prstGeom>
          <a:solidFill>
            <a:srgbClr val="96F3C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6.1%</a:t>
            </a:r>
            <a:endParaRPr lang="en-GB" dirty="0"/>
          </a:p>
        </p:txBody>
      </p:sp>
      <p:sp>
        <p:nvSpPr>
          <p:cNvPr id="178" name="Oval 177"/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9051832" y="2339733"/>
            <a:ext cx="576346" cy="27927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9.7%</a:t>
            </a:r>
            <a:endParaRPr lang="en-GB" dirty="0"/>
          </a:p>
        </p:txBody>
      </p:sp>
      <p:sp>
        <p:nvSpPr>
          <p:cNvPr id="201" name="Oval 177"/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9051832" y="1709460"/>
            <a:ext cx="576346" cy="27927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 sz="1100" dirty="0"/>
              <a:t>2.1%</a:t>
            </a:r>
          </a:p>
        </p:txBody>
      </p:sp>
      <p:cxnSp>
        <p:nvCxnSpPr>
          <p:cNvPr id="62" name="AutoShape 249"/>
          <p:cNvCxnSpPr>
            <a:cxnSpLocks noChangeShapeType="1"/>
          </p:cNvCxnSpPr>
          <p:nvPr/>
        </p:nvCxnSpPr>
        <p:spPr bwMode="gray">
          <a:xfrm>
            <a:off x="794651" y="1578503"/>
            <a:ext cx="7180949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AutoShape 250"/>
          <p:cNvSpPr>
            <a:spLocks noChangeArrowheads="1"/>
          </p:cNvSpPr>
          <p:nvPr/>
        </p:nvSpPr>
        <p:spPr bwMode="gray">
          <a:xfrm>
            <a:off x="794651" y="1221315"/>
            <a:ext cx="7180949" cy="3571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en-US" sz="1100" b="1" dirty="0">
                <a:solidFill>
                  <a:schemeClr val="tx2"/>
                </a:solidFill>
              </a:rPr>
              <a:t>Global electric power generation</a:t>
            </a:r>
            <a:r>
              <a:rPr lang="en-US" sz="1100" b="1" baseline="30000" dirty="0">
                <a:solidFill>
                  <a:schemeClr val="tx2"/>
                </a:solidFill>
              </a:rPr>
              <a:t>1</a:t>
            </a:r>
            <a:r>
              <a:rPr lang="en-US" sz="1100" b="1" dirty="0">
                <a:solidFill>
                  <a:schemeClr val="tx2"/>
                </a:solidFill>
              </a:rPr>
              <a:t> by source</a:t>
            </a:r>
          </a:p>
          <a:p>
            <a:r>
              <a:rPr lang="en-US" sz="1100" dirty="0">
                <a:solidFill>
                  <a:srgbClr val="808080"/>
                </a:solidFill>
                <a:latin typeface="+mn-lt"/>
              </a:rPr>
              <a:t>Thousand TWh</a:t>
            </a:r>
            <a:endParaRPr lang="x-none" sz="11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/>
        </p:nvSpPr>
        <p:spPr bwMode="auto">
          <a:xfrm>
            <a:off x="8420554" y="2892653"/>
            <a:ext cx="3952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rgbClr val="7CD69E"/>
                </a:solidFill>
              </a:rPr>
              <a:t>Wind</a:t>
            </a:r>
            <a:endParaRPr lang="en-GB" sz="1200" dirty="0">
              <a:solidFill>
                <a:srgbClr val="7CD69E"/>
              </a:solidFill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/>
        </p:nvSpPr>
        <p:spPr bwMode="auto">
          <a:xfrm>
            <a:off x="8420554" y="2379540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rgbClr val="00B050"/>
                </a:solidFill>
              </a:rPr>
              <a:t>Solar</a:t>
            </a:r>
            <a:endParaRPr lang="en-GB" sz="1200" dirty="0">
              <a:solidFill>
                <a:srgbClr val="00B050"/>
              </a:solidFill>
              <a:sym typeface="+mn-lt"/>
            </a:endParaRPr>
          </a:p>
        </p:txBody>
      </p:sp>
      <p:sp>
        <p:nvSpPr>
          <p:cNvPr id="86" name="Text Placeholder 2"/>
          <p:cNvSpPr>
            <a:spLocks noGrp="1"/>
          </p:cNvSpPr>
          <p:nvPr/>
        </p:nvSpPr>
        <p:spPr bwMode="auto">
          <a:xfrm>
            <a:off x="8420554" y="3657915"/>
            <a:ext cx="4127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rgbClr val="FFB380"/>
                </a:solidFill>
              </a:rPr>
              <a:t>Hydro</a:t>
            </a:r>
            <a:endParaRPr lang="en-GB" sz="1200" dirty="0">
              <a:solidFill>
                <a:srgbClr val="FFB380"/>
              </a:solidFill>
              <a:sym typeface="+mn-lt"/>
            </a:endParaRPr>
          </a:p>
        </p:txBody>
      </p:sp>
      <p:sp>
        <p:nvSpPr>
          <p:cNvPr id="87" name="Text Placeholder 2"/>
          <p:cNvSpPr>
            <a:spLocks noGrp="1"/>
          </p:cNvSpPr>
          <p:nvPr/>
        </p:nvSpPr>
        <p:spPr bwMode="auto">
          <a:xfrm>
            <a:off x="8420555" y="4822016"/>
            <a:ext cx="4810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chemeClr val="accent2"/>
                </a:solidFill>
              </a:rPr>
              <a:t>Coal</a:t>
            </a:r>
            <a:r>
              <a:rPr lang="en-GB" altLang="en-US" sz="1200" baseline="30000" dirty="0">
                <a:solidFill>
                  <a:schemeClr val="accent2"/>
                </a:solidFill>
              </a:rPr>
              <a:t>4</a:t>
            </a:r>
            <a:endParaRPr lang="en-GB" sz="1200" baseline="30000" dirty="0">
              <a:solidFill>
                <a:schemeClr val="accent2"/>
              </a:solidFill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/>
        </p:nvSpPr>
        <p:spPr bwMode="auto">
          <a:xfrm>
            <a:off x="8420554" y="4153552"/>
            <a:ext cx="9715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rgbClr val="FFC000"/>
                </a:solidFill>
              </a:rPr>
              <a:t>Nuclear</a:t>
            </a:r>
            <a:endParaRPr lang="en-GB" sz="1200" dirty="0">
              <a:solidFill>
                <a:srgbClr val="FFC000"/>
              </a:solidFill>
              <a:sym typeface="+mn-lt"/>
            </a:endParaRPr>
          </a:p>
        </p:txBody>
      </p:sp>
      <p:sp>
        <p:nvSpPr>
          <p:cNvPr id="93" name="Text Placeholder 2"/>
          <p:cNvSpPr>
            <a:spLocks noGrp="1"/>
          </p:cNvSpPr>
          <p:nvPr/>
        </p:nvSpPr>
        <p:spPr bwMode="auto">
          <a:xfrm>
            <a:off x="8420555" y="5605573"/>
            <a:ext cx="530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chemeClr val="accent3"/>
                </a:solidFill>
              </a:rPr>
              <a:t>Gas</a:t>
            </a:r>
            <a:endParaRPr lang="en-GB" sz="1200" dirty="0">
              <a:solidFill>
                <a:schemeClr val="accent3"/>
              </a:solidFill>
              <a:sym typeface="+mn-lt"/>
            </a:endParaRPr>
          </a:p>
        </p:txBody>
      </p:sp>
      <p:sp>
        <p:nvSpPr>
          <p:cNvPr id="94" name="Text Placeholder 2"/>
          <p:cNvSpPr>
            <a:spLocks noGrp="1"/>
          </p:cNvSpPr>
          <p:nvPr/>
        </p:nvSpPr>
        <p:spPr bwMode="auto">
          <a:xfrm>
            <a:off x="8420554" y="1749269"/>
            <a:ext cx="388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ym typeface="+mn-lt"/>
              </a:rPr>
              <a:t>Total</a:t>
            </a:r>
            <a:endParaRPr lang="en-GB" sz="1200" dirty="0">
              <a:sym typeface="+mn-lt"/>
            </a:endParaRPr>
          </a:p>
        </p:txBody>
      </p:sp>
      <p:sp>
        <p:nvSpPr>
          <p:cNvPr id="112" name="AutoShape 250"/>
          <p:cNvSpPr>
            <a:spLocks noChangeArrowheads="1"/>
          </p:cNvSpPr>
          <p:nvPr/>
        </p:nvSpPr>
        <p:spPr bwMode="gray">
          <a:xfrm>
            <a:off x="9805087" y="1221482"/>
            <a:ext cx="1349528" cy="3570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Share</a:t>
            </a:r>
          </a:p>
          <a:p>
            <a:r>
              <a:rPr lang="en-GB" sz="1100" dirty="0">
                <a:solidFill>
                  <a:schemeClr val="accent6"/>
                </a:solidFill>
              </a:rPr>
              <a:t>     2013         2050</a:t>
            </a:r>
          </a:p>
        </p:txBody>
      </p:sp>
      <p:sp>
        <p:nvSpPr>
          <p:cNvPr id="114" name="Oval 177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10521882" y="5535369"/>
            <a:ext cx="576346" cy="2792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20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15" name="Oval 177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10521882" y="4797880"/>
            <a:ext cx="576346" cy="2792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21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16" name="Oval 177"/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10521882" y="4114658"/>
            <a:ext cx="576346" cy="27927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9%</a:t>
            </a:r>
            <a:endParaRPr lang="en-GB" sz="1200" dirty="0"/>
          </a:p>
        </p:txBody>
      </p:sp>
      <p:sp>
        <p:nvSpPr>
          <p:cNvPr id="117" name="Oval 177"/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10521882" y="3618270"/>
            <a:ext cx="576346" cy="279279"/>
          </a:xfrm>
          <a:prstGeom prst="ellipse">
            <a:avLst/>
          </a:prstGeom>
          <a:solidFill>
            <a:srgbClr val="FFB38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14%</a:t>
            </a:r>
            <a:endParaRPr lang="en-GB" sz="1200" dirty="0"/>
          </a:p>
        </p:txBody>
      </p:sp>
      <p:sp>
        <p:nvSpPr>
          <p:cNvPr id="119" name="Oval 177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10521882" y="2833506"/>
            <a:ext cx="576346" cy="279279"/>
          </a:xfrm>
          <a:prstGeom prst="ellipse">
            <a:avLst/>
          </a:prstGeom>
          <a:solidFill>
            <a:srgbClr val="96F3C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16%</a:t>
            </a:r>
            <a:endParaRPr lang="en-GB" dirty="0"/>
          </a:p>
        </p:txBody>
      </p:sp>
      <p:sp>
        <p:nvSpPr>
          <p:cNvPr id="120" name="Oval 177"/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10521882" y="2346964"/>
            <a:ext cx="576346" cy="27927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16%</a:t>
            </a:r>
            <a:endParaRPr lang="en-GB" dirty="0"/>
          </a:p>
        </p:txBody>
      </p:sp>
      <p:sp>
        <p:nvSpPr>
          <p:cNvPr id="102" name="Oval 177"/>
          <p:cNvSpPr txBox="1">
            <a:spLocks/>
          </p:cNvSpPr>
          <p:nvPr>
            <p:custDataLst>
              <p:tags r:id="rId35"/>
            </p:custDataLst>
          </p:nvPr>
        </p:nvSpPr>
        <p:spPr>
          <a:xfrm>
            <a:off x="9866882" y="5528138"/>
            <a:ext cx="576346" cy="27927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24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3" name="Oval 177"/>
          <p:cNvSpPr txBox="1">
            <a:spLocks/>
          </p:cNvSpPr>
          <p:nvPr>
            <p:custDataLst>
              <p:tags r:id="rId36"/>
            </p:custDataLst>
          </p:nvPr>
        </p:nvSpPr>
        <p:spPr>
          <a:xfrm>
            <a:off x="9866882" y="4790649"/>
            <a:ext cx="576346" cy="2792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>
                <a:solidFill>
                  <a:schemeClr val="bg1"/>
                </a:solidFill>
              </a:rPr>
              <a:t>40%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04" name="Oval 177"/>
          <p:cNvSpPr txBox="1">
            <a:spLocks/>
          </p:cNvSpPr>
          <p:nvPr>
            <p:custDataLst>
              <p:tags r:id="rId37"/>
            </p:custDataLst>
          </p:nvPr>
        </p:nvSpPr>
        <p:spPr>
          <a:xfrm>
            <a:off x="9866882" y="4107427"/>
            <a:ext cx="576346" cy="279279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12%</a:t>
            </a:r>
            <a:endParaRPr lang="en-GB" sz="1200" dirty="0"/>
          </a:p>
        </p:txBody>
      </p:sp>
      <p:sp>
        <p:nvSpPr>
          <p:cNvPr id="109" name="Oval 177"/>
          <p:cNvSpPr txBox="1">
            <a:spLocks/>
          </p:cNvSpPr>
          <p:nvPr>
            <p:custDataLst>
              <p:tags r:id="rId38"/>
            </p:custDataLst>
          </p:nvPr>
        </p:nvSpPr>
        <p:spPr>
          <a:xfrm>
            <a:off x="9866882" y="3611039"/>
            <a:ext cx="576346" cy="279279"/>
          </a:xfrm>
          <a:prstGeom prst="ellipse">
            <a:avLst/>
          </a:prstGeom>
          <a:solidFill>
            <a:srgbClr val="FFB38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GB" sz="1200"/>
              <a:t>16%</a:t>
            </a:r>
            <a:endParaRPr lang="en-GB" sz="1200" dirty="0"/>
          </a:p>
        </p:txBody>
      </p:sp>
      <p:sp>
        <p:nvSpPr>
          <p:cNvPr id="122" name="Oval 177"/>
          <p:cNvSpPr txBox="1">
            <a:spLocks/>
          </p:cNvSpPr>
          <p:nvPr>
            <p:custDataLst>
              <p:tags r:id="rId39"/>
            </p:custDataLst>
          </p:nvPr>
        </p:nvSpPr>
        <p:spPr>
          <a:xfrm>
            <a:off x="9866882" y="2826275"/>
            <a:ext cx="576346" cy="279279"/>
          </a:xfrm>
          <a:prstGeom prst="ellipse">
            <a:avLst/>
          </a:prstGeom>
          <a:solidFill>
            <a:srgbClr val="96F3C2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4%</a:t>
            </a:r>
            <a:endParaRPr lang="en-GB" dirty="0"/>
          </a:p>
        </p:txBody>
      </p:sp>
      <p:sp>
        <p:nvSpPr>
          <p:cNvPr id="123" name="Oval 177"/>
          <p:cNvSpPr txBox="1">
            <a:spLocks/>
          </p:cNvSpPr>
          <p:nvPr>
            <p:custDataLst>
              <p:tags r:id="rId40"/>
            </p:custDataLst>
          </p:nvPr>
        </p:nvSpPr>
        <p:spPr>
          <a:xfrm>
            <a:off x="9866882" y="2339733"/>
            <a:ext cx="576346" cy="279279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1%</a:t>
            </a:r>
            <a:endParaRPr lang="en-GB" dirty="0"/>
          </a:p>
        </p:txBody>
      </p:sp>
      <p:cxnSp>
        <p:nvCxnSpPr>
          <p:cNvPr id="134" name="AutoShape 249"/>
          <p:cNvCxnSpPr>
            <a:cxnSpLocks noChangeShapeType="1"/>
          </p:cNvCxnSpPr>
          <p:nvPr/>
        </p:nvCxnSpPr>
        <p:spPr bwMode="gray">
          <a:xfrm>
            <a:off x="9805087" y="1578503"/>
            <a:ext cx="1349528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7" name="Oval 177"/>
          <p:cNvSpPr txBox="1">
            <a:spLocks/>
          </p:cNvSpPr>
          <p:nvPr>
            <p:custDataLst>
              <p:tags r:id="rId41"/>
            </p:custDataLst>
          </p:nvPr>
        </p:nvSpPr>
        <p:spPr>
          <a:xfrm>
            <a:off x="9051832" y="2027222"/>
            <a:ext cx="576346" cy="279279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3.8%</a:t>
            </a:r>
            <a:endParaRPr lang="en-GB" dirty="0"/>
          </a:p>
        </p:txBody>
      </p:sp>
      <p:sp>
        <p:nvSpPr>
          <p:cNvPr id="248" name="Text Placeholder 2"/>
          <p:cNvSpPr>
            <a:spLocks noGrp="1"/>
          </p:cNvSpPr>
          <p:nvPr/>
        </p:nvSpPr>
        <p:spPr bwMode="auto">
          <a:xfrm>
            <a:off x="8420554" y="2067029"/>
            <a:ext cx="7112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altLang="en-US" sz="1200" dirty="0">
                <a:solidFill>
                  <a:srgbClr val="008000"/>
                </a:solidFill>
              </a:rPr>
              <a:t>Other</a:t>
            </a:r>
            <a:r>
              <a:rPr lang="en-GB" altLang="en-US" sz="1200" baseline="30000" dirty="0">
                <a:solidFill>
                  <a:srgbClr val="008000"/>
                </a:solidFill>
              </a:rPr>
              <a:t>3</a:t>
            </a:r>
            <a:endParaRPr lang="en-GB" sz="1200" baseline="30000" dirty="0">
              <a:solidFill>
                <a:srgbClr val="008000"/>
              </a:solidFill>
              <a:sym typeface="+mn-lt"/>
            </a:endParaRPr>
          </a:p>
        </p:txBody>
      </p:sp>
      <p:sp>
        <p:nvSpPr>
          <p:cNvPr id="249" name="Oval 177"/>
          <p:cNvSpPr txBox="1">
            <a:spLocks/>
          </p:cNvSpPr>
          <p:nvPr>
            <p:custDataLst>
              <p:tags r:id="rId42"/>
            </p:custDataLst>
          </p:nvPr>
        </p:nvSpPr>
        <p:spPr>
          <a:xfrm>
            <a:off x="10521882" y="2034453"/>
            <a:ext cx="576346" cy="279279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4%</a:t>
            </a:r>
            <a:endParaRPr lang="en-GB" dirty="0"/>
          </a:p>
        </p:txBody>
      </p:sp>
      <p:sp>
        <p:nvSpPr>
          <p:cNvPr id="250" name="Oval 177"/>
          <p:cNvSpPr txBox="1">
            <a:spLocks/>
          </p:cNvSpPr>
          <p:nvPr>
            <p:custDataLst>
              <p:tags r:id="rId43"/>
            </p:custDataLst>
          </p:nvPr>
        </p:nvSpPr>
        <p:spPr>
          <a:xfrm>
            <a:off x="9866882" y="2027222"/>
            <a:ext cx="576346" cy="279279"/>
          </a:xfrm>
          <a:prstGeom prst="ellipse">
            <a:avLst/>
          </a:prstGeom>
          <a:solidFill>
            <a:srgbClr val="008000"/>
          </a:solidFill>
          <a:ln>
            <a:noFill/>
          </a:ln>
        </p:spPr>
        <p:txBody>
          <a:bodyPr vert="horz" wrap="none" lIns="3810" tIns="0" rIns="3810" bIns="0" rtlCol="0" anchor="ctr" anchorCtr="1">
            <a:noAutofit/>
          </a:bodyPr>
          <a:lstStyle>
            <a:defPPr>
              <a:defRPr lang="en-US"/>
            </a:defPPr>
            <a:lvl1pPr marL="0" lvl="0" indent="0" algn="ctr" defTabSz="895350" eaLnBrk="1" latinLnBrk="0" hangingPunct="1">
              <a:buClr>
                <a:schemeClr val="tx2"/>
              </a:buClr>
              <a:buSzPct val="100000"/>
              <a:defRPr sz="1200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GB"/>
              <a:t>2%</a:t>
            </a:r>
            <a:endParaRPr lang="en-GB" dirty="0"/>
          </a:p>
        </p:txBody>
      </p:sp>
      <p:sp>
        <p:nvSpPr>
          <p:cNvPr id="70" name="4. Footnote"/>
          <p:cNvSpPr txBox="1">
            <a:spLocks noChangeArrowheads="1"/>
          </p:cNvSpPr>
          <p:nvPr/>
        </p:nvSpPr>
        <p:spPr bwMode="gray">
          <a:xfrm>
            <a:off x="475488" y="6183550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rgbClr val="808080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>
                <a:solidFill>
                  <a:schemeClr val="accent6"/>
                </a:solidFill>
              </a:rPr>
              <a:t>1 Power generation is projected on the basis of policy plans, expert views and third-party sources. It is not driven by explicit assumptions about the economics of different sources   2 Compound annual growth rate (average)   </a:t>
            </a:r>
            <a:r>
              <a:rPr lang="en-CA" dirty="0">
                <a:solidFill>
                  <a:schemeClr val="accent6"/>
                </a:solidFill>
              </a:rPr>
              <a:t>3 Includes oil, bioenergy, geothermal and marine   4 Assumes no breakthrough in carbon capture and storage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71" name="AutoShape 249"/>
          <p:cNvCxnSpPr>
            <a:cxnSpLocks noChangeShapeType="1"/>
          </p:cNvCxnSpPr>
          <p:nvPr/>
        </p:nvCxnSpPr>
        <p:spPr bwMode="gray">
          <a:xfrm>
            <a:off x="9027278" y="1578503"/>
            <a:ext cx="657981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0" name="AutoShape 250"/>
          <p:cNvSpPr>
            <a:spLocks noChangeArrowheads="1"/>
          </p:cNvSpPr>
          <p:nvPr/>
        </p:nvSpPr>
        <p:spPr bwMode="gray">
          <a:xfrm>
            <a:off x="9027277" y="1221482"/>
            <a:ext cx="615934" cy="3570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</a:rPr>
              <a:t>CAGR</a:t>
            </a:r>
            <a:r>
              <a:rPr lang="en-GB" sz="1100" b="1" baseline="30000" dirty="0">
                <a:solidFill>
                  <a:schemeClr val="tx2"/>
                </a:solidFill>
              </a:rPr>
              <a:t>2</a:t>
            </a:r>
            <a:r>
              <a:rPr lang="en-GB" sz="1100" dirty="0"/>
              <a:t>           </a:t>
            </a:r>
            <a:r>
              <a:rPr lang="en-GB" sz="1100" dirty="0">
                <a:solidFill>
                  <a:schemeClr val="accent6"/>
                </a:solidFill>
              </a:rPr>
              <a:t>2014-50</a:t>
            </a:r>
          </a:p>
        </p:txBody>
      </p:sp>
    </p:spTree>
    <p:extLst>
      <p:ext uri="{BB962C8B-B14F-4D97-AF65-F5344CB8AC3E}">
        <p14:creationId xmlns:p14="http://schemas.microsoft.com/office/powerpoint/2010/main" val="356505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205121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33464" y="230189"/>
            <a:ext cx="11590235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Integration of increasing renewables will present an additional cost; flexibility solutions are needed</a:t>
            </a:r>
          </a:p>
        </p:txBody>
      </p:sp>
      <p:sp>
        <p:nvSpPr>
          <p:cNvPr id="23" name="Legend1"/>
          <p:cNvSpPr>
            <a:spLocks noChangeArrowheads="1"/>
          </p:cNvSpPr>
          <p:nvPr/>
        </p:nvSpPr>
        <p:spPr bwMode="gray">
          <a:xfrm>
            <a:off x="8195483" y="1225970"/>
            <a:ext cx="10740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200" dirty="0">
                <a:latin typeface="+mn-lt"/>
              </a:rPr>
              <a:t>RES production</a:t>
            </a:r>
          </a:p>
        </p:txBody>
      </p:sp>
      <p:sp>
        <p:nvSpPr>
          <p:cNvPr id="24" name="Legend2"/>
          <p:cNvSpPr>
            <a:spLocks noChangeArrowheads="1"/>
          </p:cNvSpPr>
          <p:nvPr/>
        </p:nvSpPr>
        <p:spPr bwMode="gray">
          <a:xfrm>
            <a:off x="9685852" y="1225970"/>
            <a:ext cx="33983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sz="1200" dirty="0">
                <a:latin typeface="+mn-lt"/>
              </a:rPr>
              <a:t>Load</a:t>
            </a:r>
          </a:p>
        </p:txBody>
      </p:sp>
      <p:cxnSp>
        <p:nvCxnSpPr>
          <p:cNvPr id="43" name="Straight Connector 42"/>
          <p:cNvCxnSpPr/>
          <p:nvPr/>
        </p:nvCxnSpPr>
        <p:spPr bwMode="gray">
          <a:xfrm>
            <a:off x="9341548" y="1318303"/>
            <a:ext cx="266669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 bwMode="gray">
          <a:xfrm>
            <a:off x="7850750" y="1364670"/>
            <a:ext cx="266669" cy="0"/>
          </a:xfrm>
          <a:prstGeom prst="line">
            <a:avLst/>
          </a:pr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3. Unit of measure"/>
          <p:cNvSpPr txBox="1">
            <a:spLocks noChangeArrowheads="1"/>
          </p:cNvSpPr>
          <p:nvPr/>
        </p:nvSpPr>
        <p:spPr bwMode="auto">
          <a:xfrm>
            <a:off x="233465" y="1138266"/>
            <a:ext cx="620017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Simulation for Germany 2050, in </a:t>
            </a:r>
            <a:r>
              <a:rPr lang="en-US" dirty="0" err="1"/>
              <a:t>GW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33465" y="1464659"/>
            <a:ext cx="11361905" cy="5166725"/>
            <a:chOff x="1567657" y="1464659"/>
            <a:chExt cx="8666243" cy="5166725"/>
          </a:xfrm>
        </p:grpSpPr>
        <p:sp>
          <p:nvSpPr>
            <p:cNvPr id="62" name="5. Source"/>
            <p:cNvSpPr>
              <a:spLocks noChangeArrowheads="1"/>
            </p:cNvSpPr>
            <p:nvPr/>
          </p:nvSpPr>
          <p:spPr bwMode="gray">
            <a:xfrm>
              <a:off x="1612900" y="6507559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dirty="0">
                  <a:solidFill>
                    <a:schemeClr val="accent6"/>
                  </a:solidFill>
                  <a:latin typeface="+mn-lt"/>
                </a:rPr>
                <a:t>Source: EC 2050 scenario, McKinsey analysis</a:t>
              </a:r>
              <a:endParaRPr lang="x-none" sz="800" dirty="0">
                <a:solidFill>
                  <a:schemeClr val="accent6"/>
                </a:solidFill>
                <a:latin typeface="+mn-lt"/>
              </a:endParaRPr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826" t="18447" r="1955" b="4652"/>
            <a:stretch/>
          </p:blipFill>
          <p:spPr>
            <a:xfrm>
              <a:off x="2135936" y="1517133"/>
              <a:ext cx="5908995" cy="3993654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430" t="27559" r="35170" b="22350"/>
            <a:stretch/>
          </p:blipFill>
          <p:spPr>
            <a:xfrm>
              <a:off x="3215237" y="1987084"/>
              <a:ext cx="1886197" cy="2569323"/>
            </a:xfrm>
            <a:prstGeom prst="rect">
              <a:avLst/>
            </a:prstGeom>
          </p:spPr>
        </p:pic>
        <p:pic>
          <p:nvPicPr>
            <p:cNvPr id="108" name="Picture 107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53" t="18447" r="68497" b="4652"/>
            <a:stretch/>
          </p:blipFill>
          <p:spPr>
            <a:xfrm>
              <a:off x="7904430" y="1517133"/>
              <a:ext cx="2199628" cy="3993654"/>
            </a:xfrm>
            <a:prstGeom prst="rect">
              <a:avLst/>
            </a:prstGeom>
          </p:spPr>
        </p:pic>
        <p:sp>
          <p:nvSpPr>
            <p:cNvPr id="109" name="TextBox 108"/>
            <p:cNvSpPr txBox="1"/>
            <p:nvPr/>
          </p:nvSpPr>
          <p:spPr bwMode="gray">
            <a:xfrm>
              <a:off x="8325554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Jan</a:t>
              </a:r>
            </a:p>
          </p:txBody>
        </p:sp>
        <p:sp>
          <p:nvSpPr>
            <p:cNvPr id="110" name="TextBox 109"/>
            <p:cNvSpPr txBox="1"/>
            <p:nvPr/>
          </p:nvSpPr>
          <p:spPr bwMode="gray">
            <a:xfrm>
              <a:off x="9001802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Feb</a:t>
              </a:r>
            </a:p>
          </p:txBody>
        </p:sp>
        <p:sp>
          <p:nvSpPr>
            <p:cNvPr id="111" name="TextBox 110"/>
            <p:cNvSpPr txBox="1"/>
            <p:nvPr/>
          </p:nvSpPr>
          <p:spPr bwMode="gray">
            <a:xfrm>
              <a:off x="9678050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Mar</a:t>
              </a:r>
            </a:p>
          </p:txBody>
        </p:sp>
        <p:sp>
          <p:nvSpPr>
            <p:cNvPr id="112" name="TextBox 111"/>
            <p:cNvSpPr txBox="1"/>
            <p:nvPr/>
          </p:nvSpPr>
          <p:spPr bwMode="gray">
            <a:xfrm>
              <a:off x="2239322" y="5782123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Apr</a:t>
              </a:r>
            </a:p>
          </p:txBody>
        </p:sp>
        <p:sp>
          <p:nvSpPr>
            <p:cNvPr id="113" name="TextBox 112"/>
            <p:cNvSpPr txBox="1"/>
            <p:nvPr/>
          </p:nvSpPr>
          <p:spPr bwMode="gray">
            <a:xfrm>
              <a:off x="2915570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May</a:t>
              </a:r>
            </a:p>
          </p:txBody>
        </p:sp>
        <p:sp>
          <p:nvSpPr>
            <p:cNvPr id="114" name="TextBox 113"/>
            <p:cNvSpPr txBox="1"/>
            <p:nvPr/>
          </p:nvSpPr>
          <p:spPr bwMode="gray">
            <a:xfrm>
              <a:off x="3591818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Jun</a:t>
              </a:r>
            </a:p>
          </p:txBody>
        </p:sp>
        <p:sp>
          <p:nvSpPr>
            <p:cNvPr id="115" name="TextBox 114"/>
            <p:cNvSpPr txBox="1"/>
            <p:nvPr/>
          </p:nvSpPr>
          <p:spPr bwMode="gray">
            <a:xfrm>
              <a:off x="4268066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Jul</a:t>
              </a:r>
            </a:p>
          </p:txBody>
        </p:sp>
        <p:sp>
          <p:nvSpPr>
            <p:cNvPr id="116" name="TextBox 115"/>
            <p:cNvSpPr txBox="1"/>
            <p:nvPr/>
          </p:nvSpPr>
          <p:spPr bwMode="gray">
            <a:xfrm>
              <a:off x="4944314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Aug</a:t>
              </a:r>
            </a:p>
          </p:txBody>
        </p:sp>
        <p:sp>
          <p:nvSpPr>
            <p:cNvPr id="117" name="TextBox 116"/>
            <p:cNvSpPr txBox="1"/>
            <p:nvPr/>
          </p:nvSpPr>
          <p:spPr bwMode="gray">
            <a:xfrm>
              <a:off x="5620562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Sep</a:t>
              </a:r>
            </a:p>
          </p:txBody>
        </p:sp>
        <p:sp>
          <p:nvSpPr>
            <p:cNvPr id="118" name="TextBox 117"/>
            <p:cNvSpPr txBox="1"/>
            <p:nvPr/>
          </p:nvSpPr>
          <p:spPr bwMode="gray">
            <a:xfrm>
              <a:off x="6296810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Oct</a:t>
              </a:r>
            </a:p>
          </p:txBody>
        </p:sp>
        <p:sp>
          <p:nvSpPr>
            <p:cNvPr id="119" name="TextBox 118"/>
            <p:cNvSpPr txBox="1"/>
            <p:nvPr/>
          </p:nvSpPr>
          <p:spPr bwMode="gray">
            <a:xfrm>
              <a:off x="6973058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Nov</a:t>
              </a:r>
            </a:p>
          </p:txBody>
        </p:sp>
        <p:sp>
          <p:nvSpPr>
            <p:cNvPr id="120" name="TextBox 119"/>
            <p:cNvSpPr txBox="1"/>
            <p:nvPr/>
          </p:nvSpPr>
          <p:spPr bwMode="gray">
            <a:xfrm>
              <a:off x="7649306" y="5769454"/>
              <a:ext cx="555850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r>
                <a:rPr lang="de-DE" dirty="0"/>
                <a:t>Dec</a:t>
              </a:r>
            </a:p>
          </p:txBody>
        </p:sp>
        <p:grpSp>
          <p:nvGrpSpPr>
            <p:cNvPr id="123" name="Group 122"/>
            <p:cNvGrpSpPr/>
            <p:nvPr/>
          </p:nvGrpSpPr>
          <p:grpSpPr bwMode="gray">
            <a:xfrm>
              <a:off x="4740470" y="4634489"/>
              <a:ext cx="407688" cy="1478696"/>
              <a:chOff x="3112126" y="4143375"/>
              <a:chExt cx="0" cy="971772"/>
            </a:xfrm>
          </p:grpSpPr>
          <p:cxnSp>
            <p:nvCxnSpPr>
              <p:cNvPr id="124" name="Straight Arrow Connector 123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Arrow Connector 124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>
                <a:solidFill>
                  <a:schemeClr val="accent6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Legend1"/>
            <p:cNvSpPr>
              <a:spLocks noChangeArrowheads="1"/>
            </p:cNvSpPr>
            <p:nvPr/>
          </p:nvSpPr>
          <p:spPr bwMode="gray">
            <a:xfrm>
              <a:off x="4268067" y="6181160"/>
              <a:ext cx="5317161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="1" dirty="0">
                  <a:solidFill>
                    <a:schemeClr val="accent4"/>
                  </a:solidFill>
                  <a:latin typeface="+mn-lt"/>
                </a:rPr>
                <a:t>Load demand in winter is higher while RES production is lower</a:t>
              </a:r>
            </a:p>
          </p:txBody>
        </p:sp>
        <p:sp>
          <p:nvSpPr>
            <p:cNvPr id="127" name="Legend1"/>
            <p:cNvSpPr>
              <a:spLocks noChangeArrowheads="1"/>
            </p:cNvSpPr>
            <p:nvPr/>
          </p:nvSpPr>
          <p:spPr bwMode="gray">
            <a:xfrm>
              <a:off x="3038387" y="1734163"/>
              <a:ext cx="2693045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="1" dirty="0">
                  <a:solidFill>
                    <a:schemeClr val="accent4"/>
                  </a:solidFill>
                  <a:latin typeface="+mn-lt"/>
                </a:rPr>
                <a:t>Curtailed periods of oversupply</a:t>
              </a:r>
            </a:p>
          </p:txBody>
        </p:sp>
        <p:sp>
          <p:nvSpPr>
            <p:cNvPr id="128" name="Legend1"/>
            <p:cNvSpPr>
              <a:spLocks noChangeArrowheads="1"/>
            </p:cNvSpPr>
            <p:nvPr/>
          </p:nvSpPr>
          <p:spPr bwMode="gray">
            <a:xfrm>
              <a:off x="7906252" y="2413143"/>
              <a:ext cx="1550104" cy="2154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400" b="1" dirty="0">
                  <a:solidFill>
                    <a:schemeClr val="accent4"/>
                  </a:solidFill>
                  <a:latin typeface="+mn-lt"/>
                </a:rPr>
                <a:t>Periods of deficits</a:t>
              </a:r>
            </a:p>
          </p:txBody>
        </p:sp>
        <p:grpSp>
          <p:nvGrpSpPr>
            <p:cNvPr id="129" name="Group 128"/>
            <p:cNvGrpSpPr/>
            <p:nvPr/>
          </p:nvGrpSpPr>
          <p:grpSpPr bwMode="gray">
            <a:xfrm flipV="1">
              <a:off x="4459284" y="1987707"/>
              <a:ext cx="190369" cy="393012"/>
              <a:chOff x="3112126" y="4143375"/>
              <a:chExt cx="0" cy="971772"/>
            </a:xfrm>
          </p:grpSpPr>
          <p:cxnSp>
            <p:nvCxnSpPr>
              <p:cNvPr id="130" name="Straight Arrow Connector 129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Arrow Connector 130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>
                <a:solidFill>
                  <a:schemeClr val="accent6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2" name="Group 131"/>
            <p:cNvGrpSpPr/>
            <p:nvPr/>
          </p:nvGrpSpPr>
          <p:grpSpPr bwMode="gray">
            <a:xfrm flipH="1" flipV="1">
              <a:off x="8060914" y="2675047"/>
              <a:ext cx="264640" cy="1109059"/>
              <a:chOff x="3112126" y="4143375"/>
              <a:chExt cx="0" cy="971772"/>
            </a:xfrm>
          </p:grpSpPr>
          <p:cxnSp>
            <p:nvCxnSpPr>
              <p:cNvPr id="133" name="Straight Arrow Connector 132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Arrow Connector 133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>
                <a:solidFill>
                  <a:schemeClr val="accent6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5" name="Rectangle 2"/>
            <p:cNvSpPr txBox="1"/>
            <p:nvPr>
              <p:custDataLst>
                <p:tags r:id="rId3"/>
              </p:custDataLst>
            </p:nvPr>
          </p:nvSpPr>
          <p:spPr bwMode="gray">
            <a:xfrm>
              <a:off x="1612902" y="1464659"/>
              <a:ext cx="437944" cy="443950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136" name="TextBox 135"/>
            <p:cNvSpPr txBox="1"/>
            <p:nvPr/>
          </p:nvSpPr>
          <p:spPr bwMode="gray">
            <a:xfrm>
              <a:off x="1567657" y="2171572"/>
              <a:ext cx="432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r"/>
              <a:r>
                <a:rPr lang="de-DE" dirty="0"/>
                <a:t>200</a:t>
              </a:r>
            </a:p>
          </p:txBody>
        </p:sp>
        <p:sp>
          <p:nvSpPr>
            <p:cNvPr id="137" name="TextBox 136"/>
            <p:cNvSpPr txBox="1"/>
            <p:nvPr/>
          </p:nvSpPr>
          <p:spPr bwMode="gray">
            <a:xfrm>
              <a:off x="1567657" y="3028710"/>
              <a:ext cx="432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r"/>
              <a:r>
                <a:rPr lang="de-DE" dirty="0"/>
                <a:t>150</a:t>
              </a:r>
            </a:p>
          </p:txBody>
        </p:sp>
        <p:sp>
          <p:nvSpPr>
            <p:cNvPr id="138" name="TextBox 137"/>
            <p:cNvSpPr txBox="1"/>
            <p:nvPr/>
          </p:nvSpPr>
          <p:spPr bwMode="gray">
            <a:xfrm>
              <a:off x="1567657" y="3885848"/>
              <a:ext cx="432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r"/>
              <a:r>
                <a:rPr lang="de-DE" dirty="0"/>
                <a:t>100</a:t>
              </a:r>
            </a:p>
          </p:txBody>
        </p:sp>
        <p:sp>
          <p:nvSpPr>
            <p:cNvPr id="139" name="TextBox 138"/>
            <p:cNvSpPr txBox="1"/>
            <p:nvPr/>
          </p:nvSpPr>
          <p:spPr bwMode="gray">
            <a:xfrm>
              <a:off x="1567657" y="4742986"/>
              <a:ext cx="432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r"/>
              <a:r>
                <a:rPr lang="de-DE" dirty="0"/>
                <a:t>50</a:t>
              </a:r>
            </a:p>
          </p:txBody>
        </p:sp>
        <p:sp>
          <p:nvSpPr>
            <p:cNvPr id="140" name="TextBox 139"/>
            <p:cNvSpPr txBox="1"/>
            <p:nvPr/>
          </p:nvSpPr>
          <p:spPr bwMode="gray">
            <a:xfrm>
              <a:off x="1567657" y="5600123"/>
              <a:ext cx="432202" cy="21544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>
                  <a:latin typeface="+mn-lt"/>
                </a:defRPr>
              </a:lvl9pPr>
            </a:lstStyle>
            <a:p>
              <a:pPr algn="r"/>
              <a:r>
                <a:rPr lang="de-DE" dirty="0"/>
                <a:t>0</a:t>
              </a:r>
            </a:p>
          </p:txBody>
        </p:sp>
        <p:cxnSp>
          <p:nvCxnSpPr>
            <p:cNvPr id="141" name="Straight Connector 140"/>
            <p:cNvCxnSpPr/>
            <p:nvPr/>
          </p:nvCxnSpPr>
          <p:spPr>
            <a:xfrm>
              <a:off x="3248497" y="4517791"/>
              <a:ext cx="1811747" cy="0"/>
            </a:xfrm>
            <a:prstGeom prst="line">
              <a:avLst/>
            </a:prstGeom>
            <a:ln w="28575"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/>
            <p:cNvCxnSpPr/>
            <p:nvPr/>
          </p:nvCxnSpPr>
          <p:spPr>
            <a:xfrm>
              <a:off x="8042138" y="4262419"/>
              <a:ext cx="981584" cy="0"/>
            </a:xfrm>
            <a:prstGeom prst="line">
              <a:avLst/>
            </a:prstGeom>
            <a:ln w="28575">
              <a:solidFill>
                <a:schemeClr val="accent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3" name="Picture 142"/>
            <p:cNvPicPr>
              <a:picLocks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24897" y="4335101"/>
              <a:ext cx="1044448" cy="1176915"/>
            </a:xfrm>
            <a:prstGeom prst="rect">
              <a:avLst/>
            </a:prstGeom>
          </p:spPr>
        </p:pic>
        <p:grpSp>
          <p:nvGrpSpPr>
            <p:cNvPr id="144" name="Group 143"/>
            <p:cNvGrpSpPr/>
            <p:nvPr/>
          </p:nvGrpSpPr>
          <p:grpSpPr bwMode="gray">
            <a:xfrm>
              <a:off x="8160304" y="4411981"/>
              <a:ext cx="407688" cy="1701205"/>
              <a:chOff x="3112126" y="4143375"/>
              <a:chExt cx="0" cy="971772"/>
            </a:xfrm>
          </p:grpSpPr>
          <p:cxnSp>
            <p:nvCxnSpPr>
              <p:cNvPr id="145" name="Straight Arrow Connector 144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Arrow Connector 145"/>
              <p:cNvCxnSpPr/>
              <p:nvPr/>
            </p:nvCxnSpPr>
            <p:spPr bwMode="gray">
              <a:xfrm flipV="1">
                <a:off x="3112126" y="4143375"/>
                <a:ext cx="0" cy="971772"/>
              </a:xfrm>
              <a:prstGeom prst="straightConnector1">
                <a:avLst/>
              </a:prstGeom>
              <a:ln>
                <a:solidFill>
                  <a:schemeClr val="accent6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5" name="1. On-page tracker"/>
          <p:cNvSpPr>
            <a:spLocks noChangeArrowheads="1"/>
          </p:cNvSpPr>
          <p:nvPr/>
        </p:nvSpPr>
        <p:spPr bwMode="gray">
          <a:xfrm>
            <a:off x="158759" y="75764"/>
            <a:ext cx="15757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 err="1">
                <a:solidFill>
                  <a:schemeClr val="accent6"/>
                </a:solidFill>
              </a:rPr>
              <a:t>DECARBONIZATION</a:t>
            </a:r>
            <a:r>
              <a:rPr lang="en-US" sz="800" cap="all" dirty="0">
                <a:solidFill>
                  <a:schemeClr val="accent6"/>
                </a:solidFill>
              </a:rPr>
              <a:t> OF POWER</a:t>
            </a:r>
          </a:p>
        </p:txBody>
      </p:sp>
    </p:spTree>
    <p:extLst>
      <p:ext uri="{BB962C8B-B14F-4D97-AF65-F5344CB8AC3E}">
        <p14:creationId xmlns:p14="http://schemas.microsoft.com/office/powerpoint/2010/main" val="187286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669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39"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0" name="Rectangle 99"/>
          <p:cNvSpPr>
            <a:spLocks/>
          </p:cNvSpPr>
          <p:nvPr/>
        </p:nvSpPr>
        <p:spPr>
          <a:xfrm>
            <a:off x="2571750" y="910182"/>
            <a:ext cx="8016169" cy="53320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36" name="Title 1"/>
          <p:cNvSpPr>
            <a:spLocks noGrp="1"/>
          </p:cNvSpPr>
          <p:nvPr>
            <p:ph type="title"/>
          </p:nvPr>
        </p:nvSpPr>
        <p:spPr>
          <a:xfrm>
            <a:off x="171450" y="230189"/>
            <a:ext cx="11491891" cy="40011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Local aggregation of distributed resources can provide additional value</a:t>
            </a:r>
          </a:p>
        </p:txBody>
      </p:sp>
      <p:sp>
        <p:nvSpPr>
          <p:cNvPr id="107" name="5. Source"/>
          <p:cNvSpPr>
            <a:spLocks noChangeArrowheads="1"/>
          </p:cNvSpPr>
          <p:nvPr/>
        </p:nvSpPr>
        <p:spPr bwMode="gray">
          <a:xfrm>
            <a:off x="171450" y="652113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493713" indent="-493713" defTabSz="1193860"/>
            <a:r>
              <a:rPr lang="en-US" sz="800" dirty="0">
                <a:solidFill>
                  <a:schemeClr val="accent6"/>
                </a:solidFill>
                <a:latin typeface="+mn-lt"/>
              </a:rPr>
              <a:t>SOURCE: MISO, Team analysis</a:t>
            </a:r>
          </a:p>
        </p:txBody>
      </p:sp>
      <p:cxnSp>
        <p:nvCxnSpPr>
          <p:cNvPr id="110" name="Straight Connector 109"/>
          <p:cNvCxnSpPr/>
          <p:nvPr>
            <p:custDataLst>
              <p:tags r:id="rId4"/>
            </p:custDataLst>
          </p:nvPr>
        </p:nvCxnSpPr>
        <p:spPr bwMode="gray">
          <a:xfrm>
            <a:off x="8401050" y="4933950"/>
            <a:ext cx="2349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5"/>
            </p:custDataLst>
          </p:nvPr>
        </p:nvCxnSpPr>
        <p:spPr bwMode="gray">
          <a:xfrm>
            <a:off x="7581900" y="4279900"/>
            <a:ext cx="2349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6"/>
            </p:custDataLst>
          </p:nvPr>
        </p:nvCxnSpPr>
        <p:spPr bwMode="gray">
          <a:xfrm>
            <a:off x="5956300" y="4464050"/>
            <a:ext cx="2349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7"/>
            </p:custDataLst>
          </p:nvPr>
        </p:nvCxnSpPr>
        <p:spPr bwMode="gray">
          <a:xfrm>
            <a:off x="5137150" y="4654550"/>
            <a:ext cx="2349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8"/>
            </p:custDataLst>
          </p:nvPr>
        </p:nvCxnSpPr>
        <p:spPr bwMode="gray">
          <a:xfrm>
            <a:off x="6769100" y="4406900"/>
            <a:ext cx="23495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2" name="Object 11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96696768"/>
              </p:ext>
            </p:extLst>
          </p:nvPr>
        </p:nvGraphicFramePr>
        <p:xfrm>
          <a:off x="4343401" y="4178300"/>
          <a:ext cx="5092647" cy="1079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40" name="Chart" r:id="rId43" imgW="5092647" imgH="1079440" progId="MSGraph.Chart.8">
                  <p:embed followColorScheme="full"/>
                </p:oleObj>
              </mc:Choice>
              <mc:Fallback>
                <p:oleObj name="Chart" r:id="rId43" imgW="5092647" imgH="10794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4343401" y="4178300"/>
                        <a:ext cx="5092647" cy="1079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72300" y="5259388"/>
            <a:ext cx="6429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878BF18-2CEC-4D20-A8EB-55A04F36663A}" type="datetime'D''''''e''''''ferr''a''l'''''''''''' ''''o''''''''p''''''pty'">
              <a:rPr lang="en-US" altLang="en-US" sz="1400">
                <a:solidFill>
                  <a:schemeClr val="accent6"/>
                </a:solidFill>
              </a:rPr>
              <a:pPr/>
              <a:t>Deferral oppty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620125" y="5259388"/>
            <a:ext cx="6111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1533E58-686A-441F-93CD-F24C366B029F}" type="datetime'''Sy''s''''''''te''''''m'''' ''''''b''e''''ne''''''f''i''''t'">
              <a:rPr lang="en-US" altLang="en-US" sz="1400" smtClean="0">
                <a:solidFill>
                  <a:schemeClr val="accent6"/>
                </a:solidFill>
              </a:rPr>
              <a:pPr/>
              <a:t>System benefit</a:t>
            </a:fld>
            <a:r>
              <a:rPr lang="en-US" altLang="en-US" sz="1400" baseline="30000" dirty="0">
                <a:solidFill>
                  <a:schemeClr val="accent6"/>
                </a:solidFill>
              </a:rPr>
              <a:t>3</a:t>
            </a:r>
            <a:r>
              <a:rPr lang="en-US" altLang="en-US" sz="1400" dirty="0">
                <a:solidFill>
                  <a:schemeClr val="accent6"/>
                </a:solidFill>
              </a:rPr>
              <a:t> </a:t>
            </a:r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21613" y="5259388"/>
            <a:ext cx="57467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49423C6-3064-4D29-864A-563D8DF66D4A}" type="datetime'A''n''nual'''' ''''sy''''st''''''''''''''e''m c''o''s''ts'''">
              <a:rPr lang="en-US" altLang="en-US" sz="1400">
                <a:solidFill>
                  <a:schemeClr val="accent6"/>
                </a:solidFill>
              </a:rPr>
              <a:pPr/>
              <a:t>Annual system costs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6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755063" y="4938713"/>
            <a:ext cx="339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9A446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CE716AA-F3D4-4C57-877C-307786643611}" type="datetime'''''''''''''3''7''''''''''''''''''''''''''''''''8'''''''">
              <a:rPr lang="en-US" altLang="en-US" sz="1400">
                <a:solidFill>
                  <a:schemeClr val="bg1"/>
                </a:solidFill>
                <a:sym typeface="+mn-lt"/>
              </a:rPr>
              <a:pPr algn="ctr"/>
              <a:t>378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59525" y="4329113"/>
            <a:ext cx="241300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2D8577B-566E-42BE-9785-92A6EC0F3DD1}" type="datetime'''''''9''''''7'''''''''''''''''''''''''''''''''''''''''''">
              <a:rPr lang="en-US" altLang="en-US" sz="1400">
                <a:solidFill>
                  <a:schemeClr val="bg1"/>
                </a:solidFill>
              </a:rPr>
              <a:pPr/>
              <a:t>97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8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23113" y="4237038"/>
            <a:ext cx="339725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14ED6F2-8E1C-4FE6-8CDA-06A549E73DA2}" type="datetime'2''''1''''''''''''''''''''''''''''''''''''6'">
              <a:rPr lang="en-GB" altLang="en-US" sz="1400">
                <a:solidFill>
                  <a:schemeClr val="bg1"/>
                </a:solidFill>
                <a:sym typeface="+mn-lt"/>
              </a:rPr>
              <a:pPr algn="ctr"/>
              <a:t>216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22788" y="5259388"/>
            <a:ext cx="6508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8FEEC90-DC97-4B96-820A-1EA642C53338}" type="datetime'''''A''''''v''o''i''''d''''''ed ''''g''''e''''''n'''">
              <a:rPr lang="en-US" altLang="en-US" sz="1400">
                <a:solidFill>
                  <a:schemeClr val="accent6"/>
                </a:solidFill>
              </a:rPr>
              <a:pPr/>
              <a:t>Avoided gen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494338" y="4452938"/>
            <a:ext cx="339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3379BD0-D379-42A9-97BC-5FDD9C861C7B}" type="datetime'''''''''''''3''''''2''''''''''''8'''''''''''''''''''''''''">
              <a:rPr lang="en-GB" altLang="en-US" sz="1400">
                <a:solidFill>
                  <a:schemeClr val="bg1"/>
                </a:solidFill>
                <a:sym typeface="+mn-lt"/>
              </a:rPr>
              <a:pPr algn="ctr"/>
              <a:t>328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138863" y="5259388"/>
            <a:ext cx="684213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dirty="0">
                <a:solidFill>
                  <a:schemeClr val="accent6"/>
                </a:solidFill>
              </a:rPr>
              <a:t>Ancillary</a:t>
            </a:r>
            <a:br>
              <a:rPr lang="en-US" altLang="en-US" sz="1400" dirty="0">
                <a:solidFill>
                  <a:schemeClr val="accent6"/>
                </a:solidFill>
              </a:rPr>
            </a:br>
            <a:r>
              <a:rPr lang="en-US" altLang="en-US" sz="1400" dirty="0">
                <a:solidFill>
                  <a:schemeClr val="accent6"/>
                </a:solidFill>
              </a:rPr>
              <a:t>services</a:t>
            </a:r>
            <a:br>
              <a:rPr lang="en-US" altLang="en-US" sz="1400" dirty="0">
                <a:solidFill>
                  <a:schemeClr val="accent6"/>
                </a:solidFill>
              </a:rPr>
            </a:br>
            <a:r>
              <a:rPr lang="en-US" altLang="en-US" sz="1400" dirty="0">
                <a:solidFill>
                  <a:schemeClr val="accent6"/>
                </a:solidFill>
              </a:rPr>
              <a:t>revenue</a:t>
            </a:r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32413" y="5259388"/>
            <a:ext cx="6635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296C76F-2F6C-47A3-8B7E-0619616D7F7F}" type="datetime'Av''''o''''i''d''''ed'' c''a''''''p''''a''cit''y'''">
              <a:rPr lang="en-US" altLang="en-US" sz="1400">
                <a:solidFill>
                  <a:schemeClr val="accent6"/>
                </a:solidFill>
              </a:rPr>
              <a:pPr/>
              <a:t>Avoided capacity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cxnSp>
        <p:nvCxnSpPr>
          <p:cNvPr id="125" name="Straight Connector 124"/>
          <p:cNvCxnSpPr/>
          <p:nvPr>
            <p:custDataLst>
              <p:tags r:id="rId20"/>
            </p:custDataLst>
          </p:nvPr>
        </p:nvCxnSpPr>
        <p:spPr bwMode="gray">
          <a:xfrm>
            <a:off x="8413750" y="2692400"/>
            <a:ext cx="22860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/>
          <p:cNvCxnSpPr/>
          <p:nvPr>
            <p:custDataLst>
              <p:tags r:id="rId21"/>
            </p:custDataLst>
          </p:nvPr>
        </p:nvCxnSpPr>
        <p:spPr bwMode="gray">
          <a:xfrm>
            <a:off x="7613650" y="1873250"/>
            <a:ext cx="22860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/>
          <p:nvPr>
            <p:custDataLst>
              <p:tags r:id="rId22"/>
            </p:custDataLst>
          </p:nvPr>
        </p:nvCxnSpPr>
        <p:spPr bwMode="gray">
          <a:xfrm>
            <a:off x="6807200" y="1873250"/>
            <a:ext cx="22860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>
            <p:custDataLst>
              <p:tags r:id="rId23"/>
            </p:custDataLst>
          </p:nvPr>
        </p:nvCxnSpPr>
        <p:spPr bwMode="gray">
          <a:xfrm>
            <a:off x="6000750" y="1873250"/>
            <a:ext cx="22860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>
            <p:custDataLst>
              <p:tags r:id="rId24"/>
            </p:custDataLst>
          </p:nvPr>
        </p:nvCxnSpPr>
        <p:spPr bwMode="gray">
          <a:xfrm>
            <a:off x="5200650" y="2025650"/>
            <a:ext cx="228600" cy="0"/>
          </a:xfrm>
          <a:prstGeom prst="line">
            <a:avLst/>
          </a:prstGeom>
          <a:ln w="3175">
            <a:solidFill>
              <a:schemeClr val="accent6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25"/>
            </p:custDataLst>
          </p:nvPr>
        </p:nvSpPr>
        <p:spPr bwMode="auto">
          <a:xfrm>
            <a:off x="6229350" y="1870075"/>
            <a:ext cx="577850" cy="6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2" name="Rectangle 131"/>
          <p:cNvSpPr/>
          <p:nvPr>
            <p:custDataLst>
              <p:tags r:id="rId26"/>
            </p:custDataLst>
          </p:nvPr>
        </p:nvSpPr>
        <p:spPr bwMode="auto">
          <a:xfrm>
            <a:off x="7035800" y="1870075"/>
            <a:ext cx="577850" cy="6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134" name="Object 133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16257894"/>
              </p:ext>
            </p:extLst>
          </p:nvPr>
        </p:nvGraphicFramePr>
        <p:xfrm>
          <a:off x="4406900" y="1689100"/>
          <a:ext cx="5029258" cy="1206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41" name="Chart" r:id="rId45" imgW="5029258" imgH="1206406" progId="MSGraph.Chart.8">
                  <p:embed followColorScheme="full"/>
                </p:oleObj>
              </mc:Choice>
              <mc:Fallback>
                <p:oleObj name="Chart" r:id="rId45" imgW="5029258" imgH="1206406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4406900" y="1689100"/>
                        <a:ext cx="5029258" cy="1206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" name="Rectangle 136"/>
          <p:cNvSpPr/>
          <p:nvPr>
            <p:custDataLst>
              <p:tags r:id="rId28"/>
            </p:custDataLst>
          </p:nvPr>
        </p:nvSpPr>
        <p:spPr bwMode="auto">
          <a:xfrm>
            <a:off x="7847013" y="2424113"/>
            <a:ext cx="561975" cy="53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626475" y="2897188"/>
            <a:ext cx="61118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6CE5541-0B69-4171-AFF4-6F65A446C355}" type="datetime'Sy''ste''''''''''''m ''''b''''e''''n''''''''''e''''fit'''''''">
              <a:rPr lang="en-US" altLang="en-US" sz="1400" smtClean="0">
                <a:solidFill>
                  <a:schemeClr val="accent6"/>
                </a:solidFill>
              </a:rPr>
              <a:pPr/>
              <a:t>System benefit</a:t>
            </a:fld>
            <a:r>
              <a:rPr lang="en-US" altLang="en-US" sz="1400" baseline="30000" dirty="0">
                <a:solidFill>
                  <a:schemeClr val="accent6"/>
                </a:solidFill>
              </a:rPr>
              <a:t>2</a:t>
            </a:r>
            <a:r>
              <a:rPr lang="en-US" altLang="en-US" sz="1400" dirty="0">
                <a:solidFill>
                  <a:schemeClr val="accent6"/>
                </a:solidFill>
              </a:rPr>
              <a:t> </a:t>
            </a:r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732838" y="2465388"/>
            <a:ext cx="3984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D2513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>
                <a:solidFill>
                  <a:schemeClr val="bg1"/>
                </a:solidFill>
              </a:rPr>
              <a:t>-</a:t>
            </a:r>
            <a:fld id="{544BBCB9-3DE9-4176-B3AE-272808E2E1F6}" type="datetime'''''''''4''''9''''''''''4'''''''''''''''''''''''''''''''">
              <a:rPr lang="en-US" altLang="en-US" sz="1400">
                <a:solidFill>
                  <a:schemeClr val="bg1"/>
                </a:solidFill>
              </a:rPr>
              <a:pPr/>
              <a:t>494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885113" y="2176463"/>
            <a:ext cx="4873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B00A13F-7393-46EA-9484-7A44EA44BBED}" type="datetime'''''''1'''''',''''6''''''''''''''''''''''''54'''''">
              <a:rPr lang="en-US" altLang="en-US" sz="1400">
                <a:solidFill>
                  <a:schemeClr val="bg1"/>
                </a:solidFill>
              </a:rPr>
              <a:pPr/>
              <a:t>1,654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176963" y="2897188"/>
            <a:ext cx="684213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dirty="0">
                <a:solidFill>
                  <a:schemeClr val="accent6"/>
                </a:solidFill>
              </a:rPr>
              <a:t>Ancillary services</a:t>
            </a:r>
            <a:br>
              <a:rPr lang="en-US" altLang="en-US" sz="1400" dirty="0">
                <a:solidFill>
                  <a:schemeClr val="accent6"/>
                </a:solidFill>
              </a:rPr>
            </a:br>
            <a:r>
              <a:rPr lang="en-US" altLang="en-US" sz="1400" dirty="0">
                <a:solidFill>
                  <a:schemeClr val="accent6"/>
                </a:solidFill>
              </a:rPr>
              <a:t>revenue</a:t>
            </a:r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3213" y="2897188"/>
            <a:ext cx="6635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64B2D94-3135-454B-A514-4C95816ED3CC}" type="datetime'A''v''''''''oide''''''''d'''''' ''ca''pacit''''y'">
              <a:rPr lang="en-US" altLang="en-US" sz="1400">
                <a:solidFill>
                  <a:schemeClr val="accent6"/>
                </a:solidFill>
              </a:rPr>
              <a:pPr/>
              <a:t>Avoided capacity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004050" y="2897188"/>
            <a:ext cx="6429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7FA21EE-853F-4361-95E3-E07F5D405BF4}" type="datetime'''''''''''''Def''''e''''rr''''a''''''l'''' o''p''''pty'">
              <a:rPr lang="en-US" altLang="en-US" sz="1400">
                <a:solidFill>
                  <a:schemeClr val="accent6"/>
                </a:solidFill>
              </a:rPr>
              <a:pPr/>
              <a:t>Deferral oppty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7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545138" y="1843088"/>
            <a:ext cx="339725" cy="21272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D6FB36A-8291-4AE0-900B-1D11A9ED6E8B}" type="datetime'''''''''''''''''''''''''''''3''''''''''''''''''03'''''">
              <a:rPr lang="en-GB" altLang="en-US" sz="1400">
                <a:solidFill>
                  <a:schemeClr val="bg1"/>
                </a:solidFill>
                <a:sym typeface="+mn-lt"/>
              </a:rPr>
              <a:pPr algn="ctr"/>
              <a:t>303</a:t>
            </a:fld>
            <a:endParaRPr lang="en-GB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9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40663" y="2897188"/>
            <a:ext cx="574675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CF93B43-3A64-4B6C-B648-E35DEF752247}" type="datetime'''''An''''nua''l ''''s''''y''''ste''m c''os''''''ts'''''''''">
              <a:rPr lang="en-US" altLang="en-US" sz="1400">
                <a:solidFill>
                  <a:schemeClr val="accent6"/>
                </a:solidFill>
              </a:rPr>
              <a:pPr/>
              <a:t>Annual system costs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86288" y="2897188"/>
            <a:ext cx="6508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B9D7699-3ED5-4F7B-B388-63A79720A0AD}" type="datetime'''''''''A''''''''v''''''''''oid''''e''''''''d g''''''''e''n'">
              <a:rPr lang="en-US" altLang="en-US" sz="1400">
                <a:solidFill>
                  <a:schemeClr val="accent6"/>
                </a:solidFill>
              </a:rPr>
              <a:pPr/>
              <a:t>Avoided gen</a:t>
            </a:fld>
            <a:endParaRPr lang="en-US" sz="1400" dirty="0">
              <a:solidFill>
                <a:schemeClr val="accent6"/>
              </a:solidFill>
              <a:sym typeface="+mn-lt"/>
            </a:endParaRPr>
          </a:p>
        </p:txBody>
      </p:sp>
      <p:grpSp>
        <p:nvGrpSpPr>
          <p:cNvPr id="48" name="Group 47"/>
          <p:cNvGrpSpPr>
            <a:grpSpLocks/>
          </p:cNvGrpSpPr>
          <p:nvPr/>
        </p:nvGrpSpPr>
        <p:grpSpPr>
          <a:xfrm>
            <a:off x="4543379" y="1292499"/>
            <a:ext cx="4023360" cy="449354"/>
            <a:chOff x="4903788" y="1076234"/>
            <a:chExt cx="4894783" cy="449354"/>
          </a:xfrm>
        </p:grpSpPr>
        <p:sp>
          <p:nvSpPr>
            <p:cNvPr id="154" name="TextBox 153"/>
            <p:cNvSpPr txBox="1">
              <a:spLocks/>
            </p:cNvSpPr>
            <p:nvPr/>
          </p:nvSpPr>
          <p:spPr>
            <a:xfrm>
              <a:off x="4903788" y="1076234"/>
              <a:ext cx="4894783" cy="449354"/>
            </a:xfrm>
            <a:prstGeom prst="rect">
              <a:avLst/>
            </a:prstGeom>
          </p:spPr>
          <p:txBody>
            <a:bodyPr vert="horz" wrap="square" lIns="0" tIns="0" rIns="0" bIns="18288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System-view value of distributed resources</a:t>
              </a:r>
              <a:br>
                <a:rPr lang="en-US" sz="1400" b="1" dirty="0">
                  <a:solidFill>
                    <a:schemeClr val="accent4"/>
                  </a:solidFill>
                </a:rPr>
              </a:br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</a:rPr>
                <a:t>$k</a:t>
              </a:r>
            </a:p>
          </p:txBody>
        </p:sp>
        <p:cxnSp>
          <p:nvCxnSpPr>
            <p:cNvPr id="155" name="Straight Connector 154"/>
            <p:cNvCxnSpPr>
              <a:cxnSpLocks/>
            </p:cNvCxnSpPr>
            <p:nvPr/>
          </p:nvCxnSpPr>
          <p:spPr>
            <a:xfrm>
              <a:off x="4903788" y="1525588"/>
              <a:ext cx="4894783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/>
          <p:cNvGrpSpPr>
            <a:grpSpLocks/>
          </p:cNvGrpSpPr>
          <p:nvPr/>
        </p:nvGrpSpPr>
        <p:grpSpPr>
          <a:xfrm>
            <a:off x="4443095" y="3707849"/>
            <a:ext cx="4023360" cy="449354"/>
            <a:chOff x="4903788" y="3774984"/>
            <a:chExt cx="4894783" cy="449354"/>
          </a:xfrm>
        </p:grpSpPr>
        <p:sp>
          <p:nvSpPr>
            <p:cNvPr id="156" name="TextBox 155"/>
            <p:cNvSpPr txBox="1">
              <a:spLocks/>
            </p:cNvSpPr>
            <p:nvPr/>
          </p:nvSpPr>
          <p:spPr>
            <a:xfrm>
              <a:off x="4903788" y="3774984"/>
              <a:ext cx="4894783" cy="449354"/>
            </a:xfrm>
            <a:prstGeom prst="rect">
              <a:avLst/>
            </a:prstGeom>
          </p:spPr>
          <p:txBody>
            <a:bodyPr vert="horz" wrap="square" lIns="0" tIns="0" rIns="0" bIns="18288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1400" b="1" dirty="0">
                  <a:solidFill>
                    <a:schemeClr val="accent4"/>
                  </a:solidFill>
                </a:rPr>
                <a:t>System-view value of aggregated resources</a:t>
              </a:r>
              <a:r>
                <a:rPr lang="en-US" sz="1400" b="1" baseline="30000" dirty="0">
                  <a:solidFill>
                    <a:schemeClr val="accent4"/>
                  </a:solidFill>
                </a:rPr>
                <a:t>1</a:t>
              </a:r>
              <a:r>
                <a:rPr lang="en-US" sz="1400" b="1" dirty="0">
                  <a:solidFill>
                    <a:schemeClr val="accent4"/>
                  </a:solidFill>
                </a:rPr>
                <a:t> </a:t>
              </a:r>
            </a:p>
            <a:p>
              <a:r>
                <a:rPr lang="en-US" sz="1400" dirty="0">
                  <a:solidFill>
                    <a:schemeClr val="bg1">
                      <a:lumMod val="50000"/>
                    </a:schemeClr>
                  </a:solidFill>
                </a:rPr>
                <a:t>$k</a:t>
              </a:r>
            </a:p>
          </p:txBody>
        </p:sp>
        <p:cxnSp>
          <p:nvCxnSpPr>
            <p:cNvPr id="157" name="Straight Connector 156"/>
            <p:cNvCxnSpPr>
              <a:cxnSpLocks/>
            </p:cNvCxnSpPr>
            <p:nvPr/>
          </p:nvCxnSpPr>
          <p:spPr>
            <a:xfrm>
              <a:off x="4903788" y="4224338"/>
              <a:ext cx="4894783" cy="0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7" name="4. Footnote"/>
          <p:cNvSpPr txBox="1">
            <a:spLocks noChangeArrowheads="1"/>
          </p:cNvSpPr>
          <p:nvPr/>
        </p:nvSpPr>
        <p:spPr bwMode="gray">
          <a:xfrm>
            <a:off x="171450" y="6265392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85725" indent="-8572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Aggregated PV on single-axis trackers (CF increase from 16% to 20%); Economies of scale reduce PV install cost from 1.56/W to $1.10/W, storage BOS from $550/kW to $500/W	2 Utility lost revenue in distributed case = ~$3mn</a:t>
            </a:r>
          </a:p>
          <a:p>
            <a:r>
              <a:rPr lang="en-US" dirty="0"/>
              <a:t>3 Simple annual return ~25% for aggregated resources</a:t>
            </a: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2571750" y="910182"/>
            <a:ext cx="8016169" cy="30777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marL="91440"/>
            <a:r>
              <a:rPr lang="en-US" sz="1400" b="1" dirty="0">
                <a:solidFill>
                  <a:schemeClr val="bg1"/>
                </a:solidFill>
              </a:rPr>
              <a:t>Value to the system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517646" y="2271572"/>
            <a:ext cx="2169150" cy="218136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txBody>
          <a:bodyPr vert="horz" wrap="square" lIns="72009" tIns="72009" rIns="72009" bIns="72009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ct val="15000"/>
              </a:spcBef>
              <a:buNone/>
            </a:pPr>
            <a:r>
              <a:rPr lang="en-US" sz="1400" b="1" dirty="0">
                <a:solidFill>
                  <a:schemeClr val="tx2"/>
                </a:solidFill>
              </a:rPr>
              <a:t>Increased value from aggregation:</a:t>
            </a:r>
          </a:p>
          <a:p>
            <a:pPr marL="292100" lvl="1" indent="-288925">
              <a:spcBef>
                <a:spcPct val="15000"/>
              </a:spcBef>
            </a:pPr>
            <a:r>
              <a:rPr lang="en-US" sz="1400" dirty="0">
                <a:solidFill>
                  <a:schemeClr val="tx2"/>
                </a:solidFill>
              </a:rPr>
              <a:t>Ability to match system peaks</a:t>
            </a:r>
          </a:p>
          <a:p>
            <a:pPr marL="292100" lvl="1" indent="-288925">
              <a:spcBef>
                <a:spcPct val="15000"/>
              </a:spcBef>
            </a:pPr>
            <a:r>
              <a:rPr lang="en-US" sz="1400" dirty="0">
                <a:solidFill>
                  <a:schemeClr val="tx2"/>
                </a:solidFill>
              </a:rPr>
              <a:t>Ability to participate in additional markets</a:t>
            </a:r>
          </a:p>
          <a:p>
            <a:pPr marL="292100" lvl="1" indent="-288925">
              <a:spcBef>
                <a:spcPct val="15000"/>
              </a:spcBef>
            </a:pPr>
            <a:r>
              <a:rPr lang="en-US" sz="1400" dirty="0">
                <a:solidFill>
                  <a:schemeClr val="tx2"/>
                </a:solidFill>
              </a:rPr>
              <a:t>Economies of scale providing lower upfront costs</a:t>
            </a:r>
            <a:endParaRPr lang="en-US" sz="1400" dirty="0"/>
          </a:p>
        </p:txBody>
      </p:sp>
      <p:grpSp>
        <p:nvGrpSpPr>
          <p:cNvPr id="2" name="Group 1"/>
          <p:cNvGrpSpPr/>
          <p:nvPr/>
        </p:nvGrpSpPr>
        <p:grpSpPr>
          <a:xfrm>
            <a:off x="144463" y="910181"/>
            <a:ext cx="2577293" cy="5332039"/>
            <a:chOff x="158759" y="1641423"/>
            <a:chExt cx="2737972" cy="3598601"/>
          </a:xfrm>
        </p:grpSpPr>
        <p:sp>
          <p:nvSpPr>
            <p:cNvPr id="106" name="Pentagon 105"/>
            <p:cNvSpPr>
              <a:spLocks/>
            </p:cNvSpPr>
            <p:nvPr>
              <p:custDataLst>
                <p:tags r:id="rId39"/>
              </p:custDataLst>
            </p:nvPr>
          </p:nvSpPr>
          <p:spPr>
            <a:xfrm>
              <a:off x="158759" y="1641423"/>
              <a:ext cx="2737972" cy="3598601"/>
            </a:xfrm>
            <a:prstGeom prst="homePlate">
              <a:avLst>
                <a:gd name="adj" fmla="val 13984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 26"/>
            <p:cNvSpPr>
              <a:spLocks/>
            </p:cNvSpPr>
            <p:nvPr/>
          </p:nvSpPr>
          <p:spPr>
            <a:xfrm>
              <a:off x="158759" y="1641423"/>
              <a:ext cx="2424657" cy="312086"/>
            </a:xfrm>
            <a:custGeom>
              <a:avLst/>
              <a:gdLst>
                <a:gd name="connsiteX0" fmla="*/ 0 w 2449530"/>
                <a:gd name="connsiteY0" fmla="*/ 0 h 389692"/>
                <a:gd name="connsiteX1" fmla="*/ 2449530 w 2449530"/>
                <a:gd name="connsiteY1" fmla="*/ 0 h 389692"/>
                <a:gd name="connsiteX2" fmla="*/ 2449530 w 2449530"/>
                <a:gd name="connsiteY2" fmla="*/ 389692 h 389692"/>
                <a:gd name="connsiteX3" fmla="*/ 0 w 2449530"/>
                <a:gd name="connsiteY3" fmla="*/ 389692 h 389692"/>
                <a:gd name="connsiteX4" fmla="*/ 0 w 2449530"/>
                <a:gd name="connsiteY4" fmla="*/ 0 h 389692"/>
                <a:gd name="connsiteX0" fmla="*/ 0 w 2449530"/>
                <a:gd name="connsiteY0" fmla="*/ 0 h 389692"/>
                <a:gd name="connsiteX1" fmla="*/ 2361424 w 2449530"/>
                <a:gd name="connsiteY1" fmla="*/ 0 h 389692"/>
                <a:gd name="connsiteX2" fmla="*/ 2449530 w 2449530"/>
                <a:gd name="connsiteY2" fmla="*/ 389692 h 389692"/>
                <a:gd name="connsiteX3" fmla="*/ 0 w 2449530"/>
                <a:gd name="connsiteY3" fmla="*/ 389692 h 389692"/>
                <a:gd name="connsiteX4" fmla="*/ 0 w 2449530"/>
                <a:gd name="connsiteY4" fmla="*/ 0 h 389692"/>
                <a:gd name="connsiteX0" fmla="*/ 0 w 2442386"/>
                <a:gd name="connsiteY0" fmla="*/ 0 h 389692"/>
                <a:gd name="connsiteX1" fmla="*/ 2361424 w 2442386"/>
                <a:gd name="connsiteY1" fmla="*/ 0 h 389692"/>
                <a:gd name="connsiteX2" fmla="*/ 2442386 w 2442386"/>
                <a:gd name="connsiteY2" fmla="*/ 387311 h 389692"/>
                <a:gd name="connsiteX3" fmla="*/ 0 w 2442386"/>
                <a:gd name="connsiteY3" fmla="*/ 389692 h 389692"/>
                <a:gd name="connsiteX4" fmla="*/ 0 w 2442386"/>
                <a:gd name="connsiteY4" fmla="*/ 0 h 389692"/>
                <a:gd name="connsiteX0" fmla="*/ 0 w 2428098"/>
                <a:gd name="connsiteY0" fmla="*/ 0 h 389692"/>
                <a:gd name="connsiteX1" fmla="*/ 2361424 w 2428098"/>
                <a:gd name="connsiteY1" fmla="*/ 0 h 389692"/>
                <a:gd name="connsiteX2" fmla="*/ 2428098 w 2428098"/>
                <a:gd name="connsiteY2" fmla="*/ 387312 h 389692"/>
                <a:gd name="connsiteX3" fmla="*/ 0 w 2428098"/>
                <a:gd name="connsiteY3" fmla="*/ 389692 h 389692"/>
                <a:gd name="connsiteX4" fmla="*/ 0 w 2428098"/>
                <a:gd name="connsiteY4" fmla="*/ 0 h 389692"/>
                <a:gd name="connsiteX0" fmla="*/ 0 w 2428098"/>
                <a:gd name="connsiteY0" fmla="*/ 0 h 389692"/>
                <a:gd name="connsiteX1" fmla="*/ 2375182 w 2428098"/>
                <a:gd name="connsiteY1" fmla="*/ 0 h 389692"/>
                <a:gd name="connsiteX2" fmla="*/ 2428098 w 2428098"/>
                <a:gd name="connsiteY2" fmla="*/ 387312 h 389692"/>
                <a:gd name="connsiteX3" fmla="*/ 0 w 2428098"/>
                <a:gd name="connsiteY3" fmla="*/ 389692 h 389692"/>
                <a:gd name="connsiteX4" fmla="*/ 0 w 2428098"/>
                <a:gd name="connsiteY4" fmla="*/ 0 h 389692"/>
                <a:gd name="connsiteX0" fmla="*/ 0 w 2441685"/>
                <a:gd name="connsiteY0" fmla="*/ 0 h 389692"/>
                <a:gd name="connsiteX1" fmla="*/ 2375182 w 2441685"/>
                <a:gd name="connsiteY1" fmla="*/ 0 h 389692"/>
                <a:gd name="connsiteX2" fmla="*/ 2441685 w 2441685"/>
                <a:gd name="connsiteY2" fmla="*/ 387312 h 389692"/>
                <a:gd name="connsiteX3" fmla="*/ 0 w 2441685"/>
                <a:gd name="connsiteY3" fmla="*/ 389692 h 389692"/>
                <a:gd name="connsiteX4" fmla="*/ 0 w 2441685"/>
                <a:gd name="connsiteY4" fmla="*/ 0 h 3896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41685" h="389692">
                  <a:moveTo>
                    <a:pt x="0" y="0"/>
                  </a:moveTo>
                  <a:lnTo>
                    <a:pt x="2375182" y="0"/>
                  </a:lnTo>
                  <a:lnTo>
                    <a:pt x="2441685" y="387312"/>
                  </a:lnTo>
                  <a:lnTo>
                    <a:pt x="0" y="3896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Distributed vs. aggregated resources</a:t>
              </a:r>
            </a:p>
          </p:txBody>
        </p:sp>
      </p:grp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5319713" y="3642245"/>
            <a:ext cx="4023360" cy="30447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428625" y="2118568"/>
            <a:ext cx="1780276" cy="453182"/>
            <a:chOff x="3007490" y="2447925"/>
            <a:chExt cx="1589505" cy="368951"/>
          </a:xfrm>
        </p:grpSpPr>
        <p:grpSp>
          <p:nvGrpSpPr>
            <p:cNvPr id="47" name="Group 46"/>
            <p:cNvGrpSpPr/>
            <p:nvPr/>
          </p:nvGrpSpPr>
          <p:grpSpPr>
            <a:xfrm>
              <a:off x="3007490" y="2447925"/>
              <a:ext cx="335412" cy="368951"/>
              <a:chOff x="954124" y="1648916"/>
              <a:chExt cx="1025445" cy="1024633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54124" y="1648916"/>
                <a:ext cx="924775" cy="1024633"/>
              </a:xfrm>
              <a:prstGeom prst="rect">
                <a:avLst/>
              </a:prstGeom>
            </p:spPr>
          </p:pic>
          <p:sp>
            <p:nvSpPr>
              <p:cNvPr id="5" name="Rectangle 4"/>
              <p:cNvSpPr/>
              <p:nvPr/>
            </p:nvSpPr>
            <p:spPr>
              <a:xfrm rot="18658305">
                <a:off x="1667888" y="1545305"/>
                <a:ext cx="55335" cy="568027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4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16200000">
                <a:off x="1535816" y="2390411"/>
                <a:ext cx="316391" cy="186522"/>
              </a:xfrm>
              <a:prstGeom prst="rect">
                <a:avLst/>
              </a:prstGeom>
              <a:solidFill>
                <a:schemeClr val="accent4">
                  <a:lumMod val="90000"/>
                  <a:lumOff val="10000"/>
                </a:schemeClr>
              </a:solidFill>
            </p:spPr>
          </p:pic>
        </p:grpSp>
        <p:grpSp>
          <p:nvGrpSpPr>
            <p:cNvPr id="9" name="Group 8"/>
            <p:cNvGrpSpPr/>
            <p:nvPr/>
          </p:nvGrpSpPr>
          <p:grpSpPr>
            <a:xfrm>
              <a:off x="3425079" y="2447925"/>
              <a:ext cx="335412" cy="368951"/>
              <a:chOff x="820221" y="1396721"/>
              <a:chExt cx="1626189" cy="1624902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0221" y="1396721"/>
                <a:ext cx="1466543" cy="1624902"/>
              </a:xfrm>
              <a:prstGeom prst="rect">
                <a:avLst/>
              </a:prstGeom>
            </p:spPr>
          </p:pic>
          <p:sp>
            <p:nvSpPr>
              <p:cNvPr id="11" name="Rectangle 10"/>
              <p:cNvSpPr/>
              <p:nvPr/>
            </p:nvSpPr>
            <p:spPr>
              <a:xfrm rot="18658305">
                <a:off x="1952134" y="1232411"/>
                <a:ext cx="87753" cy="900798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4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16200000">
                <a:off x="1742690" y="2572612"/>
                <a:ext cx="501745" cy="295793"/>
              </a:xfrm>
              <a:prstGeom prst="rect">
                <a:avLst/>
              </a:prstGeom>
              <a:solidFill>
                <a:schemeClr val="accent4">
                  <a:lumMod val="90000"/>
                  <a:lumOff val="10000"/>
                </a:schemeClr>
              </a:solidFill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3843331" y="2447925"/>
              <a:ext cx="335412" cy="368951"/>
              <a:chOff x="820221" y="1396721"/>
              <a:chExt cx="1626189" cy="1624902"/>
            </a:xfrm>
          </p:grpSpPr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0221" y="1396721"/>
                <a:ext cx="1466543" cy="1624902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/>
            </p:nvSpPr>
            <p:spPr>
              <a:xfrm rot="18658305">
                <a:off x="1952134" y="1232411"/>
                <a:ext cx="87753" cy="900798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6" name="Picture 15"/>
              <p:cNvPicPr>
                <a:picLocks noChangeAspect="1"/>
              </p:cNvPicPr>
              <p:nvPr/>
            </p:nvPicPr>
            <p:blipFill rotWithShape="1">
              <a:blip r:embed="rId4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16200000">
                <a:off x="1742690" y="2572612"/>
                <a:ext cx="501745" cy="295793"/>
              </a:xfrm>
              <a:prstGeom prst="rect">
                <a:avLst/>
              </a:prstGeom>
              <a:solidFill>
                <a:schemeClr val="accent4">
                  <a:lumMod val="90000"/>
                  <a:lumOff val="10000"/>
                </a:schemeClr>
              </a:solidFill>
            </p:spPr>
          </p:pic>
        </p:grpSp>
        <p:grpSp>
          <p:nvGrpSpPr>
            <p:cNvPr id="17" name="Group 16"/>
            <p:cNvGrpSpPr/>
            <p:nvPr/>
          </p:nvGrpSpPr>
          <p:grpSpPr>
            <a:xfrm>
              <a:off x="4261583" y="2447925"/>
              <a:ext cx="335412" cy="368951"/>
              <a:chOff x="820223" y="1396720"/>
              <a:chExt cx="1626187" cy="1624901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4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0223" y="1396720"/>
                <a:ext cx="1466541" cy="1624901"/>
              </a:xfrm>
              <a:prstGeom prst="rect">
                <a:avLst/>
              </a:prstGeom>
            </p:spPr>
          </p:pic>
          <p:sp>
            <p:nvSpPr>
              <p:cNvPr id="19" name="Rectangle 18"/>
              <p:cNvSpPr/>
              <p:nvPr/>
            </p:nvSpPr>
            <p:spPr>
              <a:xfrm rot="18658305">
                <a:off x="1952134" y="1232411"/>
                <a:ext cx="87753" cy="900798"/>
              </a:xfrm>
              <a:prstGeom prst="rect">
                <a:avLst/>
              </a:prstGeom>
              <a:solidFill>
                <a:schemeClr val="accent3"/>
              </a:solidFill>
              <a:ln w="9525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 rotWithShape="1">
              <a:blip r:embed="rId4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 rot="16200000">
                <a:off x="1742690" y="2572612"/>
                <a:ext cx="501745" cy="295793"/>
              </a:xfrm>
              <a:prstGeom prst="rect">
                <a:avLst/>
              </a:prstGeom>
              <a:solidFill>
                <a:schemeClr val="accent4">
                  <a:lumMod val="90000"/>
                  <a:lumOff val="10000"/>
                </a:schemeClr>
              </a:solidFill>
            </p:spPr>
          </p:pic>
        </p:grpSp>
      </p:grpSp>
      <p:grpSp>
        <p:nvGrpSpPr>
          <p:cNvPr id="36" name="Group 35"/>
          <p:cNvGrpSpPr/>
          <p:nvPr/>
        </p:nvGrpSpPr>
        <p:grpSpPr>
          <a:xfrm>
            <a:off x="338138" y="4321175"/>
            <a:ext cx="1942159" cy="1304925"/>
            <a:chOff x="2400477" y="3189623"/>
            <a:chExt cx="1251297" cy="840739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0477" y="3725769"/>
              <a:ext cx="243160" cy="304593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6167" y="3725769"/>
              <a:ext cx="243160" cy="304593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2391" y="3725769"/>
              <a:ext cx="243160" cy="304593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8614" y="3725769"/>
              <a:ext cx="243160" cy="304593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 rotWithShape="1"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6200000">
              <a:off x="2866078" y="3447645"/>
              <a:ext cx="94054" cy="49044"/>
            </a:xfrm>
            <a:prstGeom prst="rect">
              <a:avLst/>
            </a:prstGeom>
            <a:solidFill>
              <a:schemeClr val="accent4">
                <a:lumMod val="90000"/>
                <a:lumOff val="10000"/>
              </a:schemeClr>
            </a:solidFill>
          </p:spPr>
        </p:pic>
        <p:cxnSp>
          <p:nvCxnSpPr>
            <p:cNvPr id="55" name="Straight Connector 54"/>
            <p:cNvCxnSpPr/>
            <p:nvPr/>
          </p:nvCxnSpPr>
          <p:spPr>
            <a:xfrm>
              <a:off x="2769204" y="3319142"/>
              <a:ext cx="0" cy="67929"/>
            </a:xfrm>
            <a:prstGeom prst="line">
              <a:avLst/>
            </a:prstGeom>
            <a:solidFill>
              <a:schemeClr val="accent3"/>
            </a:solidFill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Parallelogram 52"/>
            <p:cNvSpPr/>
            <p:nvPr/>
          </p:nvSpPr>
          <p:spPr>
            <a:xfrm flipH="1">
              <a:off x="2716452" y="3223358"/>
              <a:ext cx="118045" cy="123138"/>
            </a:xfrm>
            <a:prstGeom prst="parallelogram">
              <a:avLst>
                <a:gd name="adj" fmla="val 50478"/>
              </a:avLst>
            </a:prstGeom>
            <a:solidFill>
              <a:schemeClr val="accent3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4" name="Straight Connector 63"/>
            <p:cNvCxnSpPr/>
            <p:nvPr/>
          </p:nvCxnSpPr>
          <p:spPr>
            <a:xfrm>
              <a:off x="2902414" y="3319142"/>
              <a:ext cx="0" cy="67929"/>
            </a:xfrm>
            <a:prstGeom prst="line">
              <a:avLst/>
            </a:prstGeom>
            <a:solidFill>
              <a:schemeClr val="accent3"/>
            </a:solidFill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Parallelogram 64"/>
            <p:cNvSpPr/>
            <p:nvPr/>
          </p:nvSpPr>
          <p:spPr>
            <a:xfrm flipH="1">
              <a:off x="2849663" y="3223358"/>
              <a:ext cx="118045" cy="123138"/>
            </a:xfrm>
            <a:prstGeom prst="parallelogram">
              <a:avLst>
                <a:gd name="adj" fmla="val 50478"/>
              </a:avLst>
            </a:prstGeom>
            <a:solidFill>
              <a:schemeClr val="accent3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3035092" y="3319142"/>
              <a:ext cx="0" cy="67929"/>
            </a:xfrm>
            <a:prstGeom prst="line">
              <a:avLst/>
            </a:prstGeom>
            <a:solidFill>
              <a:schemeClr val="accent3"/>
            </a:solidFill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Parallelogram 67"/>
            <p:cNvSpPr/>
            <p:nvPr/>
          </p:nvSpPr>
          <p:spPr>
            <a:xfrm flipH="1">
              <a:off x="2982340" y="3223358"/>
              <a:ext cx="118045" cy="123138"/>
            </a:xfrm>
            <a:prstGeom prst="parallelogram">
              <a:avLst>
                <a:gd name="adj" fmla="val 50478"/>
              </a:avLst>
            </a:prstGeom>
            <a:solidFill>
              <a:schemeClr val="accent3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70" name="Straight Connector 69"/>
            <p:cNvCxnSpPr/>
            <p:nvPr/>
          </p:nvCxnSpPr>
          <p:spPr>
            <a:xfrm>
              <a:off x="3168302" y="3319142"/>
              <a:ext cx="0" cy="67929"/>
            </a:xfrm>
            <a:prstGeom prst="line">
              <a:avLst/>
            </a:prstGeom>
            <a:solidFill>
              <a:schemeClr val="accent3"/>
            </a:solidFill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Parallelogram 70"/>
            <p:cNvSpPr/>
            <p:nvPr/>
          </p:nvSpPr>
          <p:spPr>
            <a:xfrm flipH="1">
              <a:off x="3115551" y="3223358"/>
              <a:ext cx="118045" cy="123138"/>
            </a:xfrm>
            <a:prstGeom prst="parallelogram">
              <a:avLst>
                <a:gd name="adj" fmla="val 50478"/>
              </a:avLst>
            </a:prstGeom>
            <a:solidFill>
              <a:schemeClr val="accent3"/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 rotWithShape="1"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6200000">
              <a:off x="2915100" y="3447645"/>
              <a:ext cx="94054" cy="49044"/>
            </a:xfrm>
            <a:prstGeom prst="rect">
              <a:avLst/>
            </a:prstGeom>
            <a:solidFill>
              <a:schemeClr val="accent4">
                <a:lumMod val="90000"/>
                <a:lumOff val="10000"/>
              </a:schemeClr>
            </a:solidFill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 rotWithShape="1"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6200000">
              <a:off x="2963588" y="3447645"/>
              <a:ext cx="94054" cy="49044"/>
            </a:xfrm>
            <a:prstGeom prst="rect">
              <a:avLst/>
            </a:prstGeom>
            <a:solidFill>
              <a:schemeClr val="accent4">
                <a:lumMod val="90000"/>
                <a:lumOff val="10000"/>
              </a:schemeClr>
            </a:solidFill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6200000">
              <a:off x="3012610" y="3447645"/>
              <a:ext cx="94054" cy="49044"/>
            </a:xfrm>
            <a:prstGeom prst="rect">
              <a:avLst/>
            </a:prstGeom>
            <a:solidFill>
              <a:schemeClr val="accent4">
                <a:lumMod val="90000"/>
                <a:lumOff val="10000"/>
              </a:schemeClr>
            </a:solidFill>
          </p:spPr>
        </p:pic>
        <p:sp>
          <p:nvSpPr>
            <p:cNvPr id="79" name="Rectangle 78"/>
            <p:cNvSpPr/>
            <p:nvPr/>
          </p:nvSpPr>
          <p:spPr>
            <a:xfrm>
              <a:off x="2836342" y="3410708"/>
              <a:ext cx="271324" cy="108512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701533" y="3189623"/>
              <a:ext cx="562833" cy="38371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82" name="Elbow Connector 81"/>
            <p:cNvCxnSpPr>
              <a:stCxn id="26" idx="0"/>
              <a:endCxn id="80" idx="2"/>
            </p:cNvCxnSpPr>
            <p:nvPr/>
          </p:nvCxnSpPr>
          <p:spPr>
            <a:xfrm rot="5400000" flipH="1" flipV="1">
              <a:off x="2676286" y="3419106"/>
              <a:ext cx="152434" cy="460892"/>
            </a:xfrm>
            <a:prstGeom prst="bentConnector3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Elbow Connector 83"/>
            <p:cNvCxnSpPr>
              <a:stCxn id="30" idx="0"/>
              <a:endCxn id="80" idx="2"/>
            </p:cNvCxnSpPr>
            <p:nvPr/>
          </p:nvCxnSpPr>
          <p:spPr>
            <a:xfrm rot="5400000" flipH="1" flipV="1">
              <a:off x="2844131" y="3586950"/>
              <a:ext cx="152434" cy="12520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Elbow Connector 86"/>
            <p:cNvCxnSpPr>
              <a:stCxn id="34" idx="0"/>
              <a:endCxn id="80" idx="2"/>
            </p:cNvCxnSpPr>
            <p:nvPr/>
          </p:nvCxnSpPr>
          <p:spPr>
            <a:xfrm rot="16200000" flipV="1">
              <a:off x="3012243" y="3544045"/>
              <a:ext cx="152434" cy="21102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Elbow Connector 89"/>
            <p:cNvCxnSpPr>
              <a:stCxn id="38" idx="0"/>
              <a:endCxn id="80" idx="2"/>
            </p:cNvCxnSpPr>
            <p:nvPr/>
          </p:nvCxnSpPr>
          <p:spPr>
            <a:xfrm rot="16200000" flipV="1">
              <a:off x="3180355" y="3375935"/>
              <a:ext cx="152434" cy="547245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0" name="TextBox 169"/>
          <p:cNvSpPr txBox="1"/>
          <p:nvPr/>
        </p:nvSpPr>
        <p:spPr>
          <a:xfrm>
            <a:off x="204788" y="1651603"/>
            <a:ext cx="2286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ct val="15000"/>
              </a:spcBef>
              <a:buNone/>
            </a:pPr>
            <a:r>
              <a:rPr lang="en-US" sz="1400" b="1" dirty="0">
                <a:solidFill>
                  <a:schemeClr val="tx2"/>
                </a:solidFill>
              </a:rPr>
              <a:t>Distributed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204788" y="3917788"/>
            <a:ext cx="2286000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>
              <a:spcBef>
                <a:spcPct val="15000"/>
              </a:spcBef>
              <a:buNone/>
            </a:pPr>
            <a:r>
              <a:rPr lang="en-US" sz="1400" b="1" dirty="0">
                <a:solidFill>
                  <a:schemeClr val="tx2"/>
                </a:solidFill>
              </a:rPr>
              <a:t>Aggregated</a:t>
            </a:r>
          </a:p>
        </p:txBody>
      </p:sp>
      <p:sp>
        <p:nvSpPr>
          <p:cNvPr id="124" name="1. On-page tracker"/>
          <p:cNvSpPr>
            <a:spLocks noChangeArrowheads="1"/>
          </p:cNvSpPr>
          <p:nvPr/>
        </p:nvSpPr>
        <p:spPr bwMode="gray">
          <a:xfrm>
            <a:off x="171450" y="75764"/>
            <a:ext cx="15757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 err="1">
                <a:solidFill>
                  <a:schemeClr val="accent6"/>
                </a:solidFill>
              </a:rPr>
              <a:t>DECARBONIZATION</a:t>
            </a:r>
            <a:r>
              <a:rPr lang="en-US" sz="800" cap="all" dirty="0">
                <a:solidFill>
                  <a:schemeClr val="accent6"/>
                </a:solidFill>
              </a:rPr>
              <a:t> OF POWER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152400" y="3105363"/>
            <a:ext cx="228600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ct val="15000"/>
              </a:spcBef>
            </a:pPr>
            <a:r>
              <a:rPr lang="en-US" sz="2000" dirty="0">
                <a:solidFill>
                  <a:schemeClr val="tx2"/>
                </a:solidFill>
              </a:rPr>
              <a:t>vs</a:t>
            </a:r>
          </a:p>
        </p:txBody>
      </p:sp>
      <p:sp>
        <p:nvSpPr>
          <p:cNvPr id="3" name="Rectangle 2"/>
          <p:cNvSpPr/>
          <p:nvPr/>
        </p:nvSpPr>
        <p:spPr>
          <a:xfrm>
            <a:off x="2857500" y="1715219"/>
            <a:ext cx="1330645" cy="429163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4"/>
                </a:solidFill>
              </a:rPr>
              <a:t>10 MW solar PV + 1MW / 2MWh of stationary storage</a:t>
            </a:r>
          </a:p>
        </p:txBody>
      </p:sp>
      <p:pic>
        <p:nvPicPr>
          <p:cNvPr id="102" name="Picture 101"/>
          <p:cNvPicPr>
            <a:picLocks/>
          </p:cNvPicPr>
          <p:nvPr/>
        </p:nvPicPr>
        <p:blipFill>
          <a:blip r:embed="rId5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2276" y="150723"/>
            <a:ext cx="512350" cy="5123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066418" y="1651603"/>
            <a:ext cx="1661532" cy="1939036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6066418" y="4192127"/>
            <a:ext cx="1661532" cy="186784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7765415" y="1767700"/>
            <a:ext cx="708660" cy="182293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7765415" y="4237038"/>
            <a:ext cx="708660" cy="1822939"/>
          </a:xfrm>
          <a:prstGeom prst="rect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8" name="Marvinsticker"/>
          <p:cNvSpPr txBox="1"/>
          <p:nvPr>
            <p:custDataLst>
              <p:tags r:id="rId38"/>
            </p:custDataLst>
          </p:nvPr>
        </p:nvSpPr>
        <p:spPr>
          <a:xfrm>
            <a:off x="9985375" y="-598327"/>
            <a:ext cx="1905000" cy="391795"/>
          </a:xfrm>
          <a:prstGeom prst="foldedCorner">
            <a:avLst/>
          </a:prstGeom>
          <a:solidFill>
            <a:srgbClr val="FFFF66"/>
          </a:solidFill>
        </p:spPr>
        <p:txBody>
          <a:bodyPr vert="horz" wrap="square" lIns="63500" tIns="62035" rIns="63500" bIns="63500" rtlCol="0" anchor="t" anchorCtr="1">
            <a:spAutoFit/>
          </a:bodyPr>
          <a:lstStyle>
            <a:lvl1pPr marL="0" lvl="0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defRPr lang="x-none" sz="1200" b="1" baseline="0">
                <a:latin typeface="+mn-lt"/>
              </a:defRPr>
            </a:lvl1pPr>
            <a:lvl2pPr marL="1587" lvl="1" indent="0" defTabSz="895395" eaLnBrk="1" latinLnBrk="0" hangingPunct="1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25000"/>
              <a:buFontTx/>
              <a:buNone/>
              <a:defRPr lang="x-none" sz="1200" b="0" baseline="0">
                <a:solidFill>
                  <a:schemeClr val="accent6"/>
                </a:solidFill>
                <a:latin typeface="+mn-lt"/>
              </a:defRPr>
            </a:lvl2pPr>
            <a:lvl3pPr marL="126206" lvl="2" indent="-126206" defTabSz="895395" eaLnBrk="1" latinLnBrk="0" hangingPunct="1">
              <a:spcAft>
                <a:spcPts val="450"/>
              </a:spcAft>
              <a:buClrTx/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3pPr>
            <a:lvl4pPr marL="263129" lvl="3" indent="-136922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sz="1200" baseline="0">
                <a:solidFill>
                  <a:schemeClr val="accent6"/>
                </a:solidFill>
                <a:latin typeface="+mn-lt"/>
              </a:defRPr>
            </a:lvl4pPr>
            <a:lvl5pPr marL="434579" lvl="4" indent="-171450" defTabSz="895395" eaLnBrk="1" latinLnBrk="0" hangingPunct="1">
              <a:spcAft>
                <a:spcPts val="45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sz="1200" baseline="0">
                <a:solidFill>
                  <a:schemeClr val="accent6"/>
                </a:solidFill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/>
            <a:r>
              <a:rPr lang="en-US" sz="1300" b="0" dirty="0">
                <a:solidFill>
                  <a:srgbClr val="000000"/>
                </a:solidFill>
              </a:rPr>
              <a:t>Cut? – doesn’t flow well</a:t>
            </a:r>
          </a:p>
        </p:txBody>
      </p:sp>
    </p:spTree>
    <p:extLst>
      <p:ext uri="{BB962C8B-B14F-4D97-AF65-F5344CB8AC3E}">
        <p14:creationId xmlns:p14="http://schemas.microsoft.com/office/powerpoint/2010/main" val="221488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4" name="think-cell Slide" r:id="rId52" imgW="395" imgH="394" progId="TCLayout.ActiveDocument.1">
                  <p:embed/>
                </p:oleObj>
              </mc:Choice>
              <mc:Fallback>
                <p:oleObj name="think-cell Slide" r:id="rId52" imgW="395" imgH="394" progId="TCLayout.ActiveDocument.1">
                  <p:embed/>
                  <p:pic>
                    <p:nvPicPr>
                      <p:cNvPr id="60" name="Object 59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5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99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 bwMode="gray">
          <a:xfrm>
            <a:off x="158759" y="230189"/>
            <a:ext cx="11491891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9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88" algn="l"/>
              </a:tabLst>
              <a:defRPr lang="x-none" sz="2600" b="0" baseline="0" noProof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2pPr>
            <a:lvl3pPr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3pPr>
            <a:lvl4pPr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4pPr>
            <a:lvl5pPr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5pPr>
            <a:lvl6pPr marL="457223"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6pPr>
            <a:lvl7pPr marL="914446"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7pPr>
            <a:lvl8pPr marL="1371668"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8pPr>
            <a:lvl9pPr marL="1828892" algn="l" defTabSz="895395" rtl="0" eaLnBrk="1" fontAlgn="base" hangingPunct="1">
              <a:spcBef>
                <a:spcPct val="0"/>
              </a:spcBef>
              <a:spcAft>
                <a:spcPct val="0"/>
              </a:spcAft>
              <a:defRPr lang="x-none"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/>
            <a:r>
              <a:rPr lang="en-CA" kern="0" dirty="0">
                <a:solidFill>
                  <a:srgbClr val="002960"/>
                </a:solidFill>
                <a:latin typeface="Georgia"/>
              </a:rPr>
              <a:t>However, electricity demand in the developed world will be </a:t>
            </a:r>
            <a:r>
              <a:rPr lang="en-CA" kern="0">
                <a:solidFill>
                  <a:srgbClr val="002960"/>
                </a:solidFill>
                <a:latin typeface="Georgia"/>
              </a:rPr>
              <a:t>nearly flat, </a:t>
            </a:r>
            <a:r>
              <a:rPr lang="en-CA" kern="0" dirty="0">
                <a:solidFill>
                  <a:srgbClr val="002960"/>
                </a:solidFill>
                <a:latin typeface="Georgia"/>
              </a:rPr>
              <a:t>driven by accelerated DG and EE adoption</a:t>
            </a:r>
            <a:endParaRPr kumimoji="0" lang="en-US" sz="2600" b="0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Georgia"/>
              <a:ea typeface="+mj-ea"/>
              <a:cs typeface="+mj-cs"/>
            </a:endParaRPr>
          </a:p>
        </p:txBody>
      </p:sp>
      <p:sp>
        <p:nvSpPr>
          <p:cNvPr id="15" name="5. Source"/>
          <p:cNvSpPr>
            <a:spLocks noChangeArrowheads="1"/>
          </p:cNvSpPr>
          <p:nvPr/>
        </p:nvSpPr>
        <p:spPr bwMode="gray">
          <a:xfrm>
            <a:off x="158758" y="6507558"/>
            <a:ext cx="9953007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09600" indent="-609600" defTabSz="895350">
              <a:tabLst>
                <a:tab pos="630238" algn="l"/>
              </a:tabLst>
            </a:pPr>
            <a:r>
              <a:rPr lang="en-CA" sz="800" dirty="0">
                <a:solidFill>
                  <a:schemeClr val="accent6"/>
                </a:solidFill>
              </a:rPr>
              <a:t>SOURCE: McKinsey </a:t>
            </a:r>
            <a:r>
              <a:rPr lang="en-CA" sz="800" dirty="0" err="1">
                <a:solidFill>
                  <a:schemeClr val="accent6"/>
                </a:solidFill>
              </a:rPr>
              <a:t>PowerIQ</a:t>
            </a:r>
            <a:r>
              <a:rPr lang="en-CA" sz="800" dirty="0">
                <a:solidFill>
                  <a:schemeClr val="accent6"/>
                </a:solidFill>
              </a:rPr>
              <a:t> electricity demand model</a:t>
            </a:r>
          </a:p>
        </p:txBody>
      </p:sp>
      <p:cxnSp>
        <p:nvCxnSpPr>
          <p:cNvPr id="24" name="Straight Connector 23"/>
          <p:cNvCxnSpPr/>
          <p:nvPr>
            <p:custDataLst>
              <p:tags r:id="rId4"/>
            </p:custDataLst>
          </p:nvPr>
        </p:nvCxnSpPr>
        <p:spPr bwMode="gray">
          <a:xfrm>
            <a:off x="4895850" y="35941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5"/>
            </p:custDataLst>
          </p:nvPr>
        </p:nvCxnSpPr>
        <p:spPr bwMode="gray">
          <a:xfrm>
            <a:off x="3276600" y="19685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6"/>
            </p:custDataLst>
          </p:nvPr>
        </p:nvCxnSpPr>
        <p:spPr bwMode="gray">
          <a:xfrm>
            <a:off x="7315200" y="41529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7"/>
            </p:custDataLst>
          </p:nvPr>
        </p:nvCxnSpPr>
        <p:spPr bwMode="gray">
          <a:xfrm>
            <a:off x="6508750" y="391795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8"/>
            </p:custDataLst>
          </p:nvPr>
        </p:nvCxnSpPr>
        <p:spPr bwMode="gray">
          <a:xfrm>
            <a:off x="5702300" y="35941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9"/>
            </p:custDataLst>
          </p:nvPr>
        </p:nvCxnSpPr>
        <p:spPr bwMode="gray">
          <a:xfrm>
            <a:off x="4089400" y="32893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10"/>
            </p:custDataLst>
          </p:nvPr>
        </p:nvCxnSpPr>
        <p:spPr bwMode="gray">
          <a:xfrm>
            <a:off x="2470150" y="21336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1"/>
            </p:custDataLst>
          </p:nvPr>
        </p:nvCxnSpPr>
        <p:spPr bwMode="gray">
          <a:xfrm>
            <a:off x="857250" y="39751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2"/>
            </p:custDataLst>
          </p:nvPr>
        </p:nvCxnSpPr>
        <p:spPr bwMode="gray">
          <a:xfrm>
            <a:off x="1663700" y="2133600"/>
            <a:ext cx="228600" cy="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Object 25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50800" y="1866900"/>
          <a:ext cx="8273988" cy="297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15" name="Chart" r:id="rId54" imgW="8274304" imgH="2971800" progId="MSGraph.Chart.8">
                  <p:embed followColorScheme="full"/>
                </p:oleObj>
              </mc:Choice>
              <mc:Fallback>
                <p:oleObj name="Chart" r:id="rId54" imgW="8274304" imgH="2971800" progId="MSGraph.Chart.8">
                  <p:embed followColorScheme="full"/>
                  <p:pic>
                    <p:nvPicPr>
                      <p:cNvPr id="26" name="Object 25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50800" y="1866900"/>
                        <a:ext cx="8273988" cy="297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36" name="Freeform 35"/>
          <p:cNvSpPr/>
          <p:nvPr>
            <p:custDataLst>
              <p:tags r:id="rId14"/>
            </p:custDataLst>
          </p:nvPr>
        </p:nvSpPr>
        <p:spPr bwMode="auto">
          <a:xfrm>
            <a:off x="5057775" y="4321175"/>
            <a:ext cx="684214" cy="241301"/>
          </a:xfrm>
          <a:custGeom>
            <a:avLst/>
            <a:gdLst/>
            <a:ahLst/>
            <a:cxnLst/>
            <a:rect l="0" t="0" r="0" b="0"/>
            <a:pathLst>
              <a:path w="684214" h="241301">
                <a:moveTo>
                  <a:pt x="0" y="184150"/>
                </a:moveTo>
                <a:lnTo>
                  <a:pt x="684213" y="0"/>
                </a:lnTo>
                <a:lnTo>
                  <a:pt x="684213" y="57150"/>
                </a:lnTo>
                <a:lnTo>
                  <a:pt x="0" y="24130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 err="1">
              <a:solidFill>
                <a:schemeClr val="tx1"/>
              </a:solidFill>
            </a:endParaRPr>
          </a:p>
        </p:txBody>
      </p:sp>
      <p:sp useBgFill="1">
        <p:nvSpPr>
          <p:cNvPr id="62" name="Freeform 61"/>
          <p:cNvSpPr/>
          <p:nvPr>
            <p:custDataLst>
              <p:tags r:id="rId15"/>
            </p:custDataLst>
          </p:nvPr>
        </p:nvSpPr>
        <p:spPr bwMode="auto">
          <a:xfrm>
            <a:off x="7477125" y="4321175"/>
            <a:ext cx="684214" cy="241301"/>
          </a:xfrm>
          <a:custGeom>
            <a:avLst/>
            <a:gdLst/>
            <a:ahLst/>
            <a:cxnLst/>
            <a:rect l="0" t="0" r="0" b="0"/>
            <a:pathLst>
              <a:path w="684214" h="241301">
                <a:moveTo>
                  <a:pt x="0" y="184150"/>
                </a:moveTo>
                <a:lnTo>
                  <a:pt x="684213" y="0"/>
                </a:lnTo>
                <a:lnTo>
                  <a:pt x="684213" y="57150"/>
                </a:lnTo>
                <a:lnTo>
                  <a:pt x="0" y="24130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 err="1">
              <a:solidFill>
                <a:schemeClr val="tx1"/>
              </a:solidFill>
            </a:endParaRPr>
          </a:p>
        </p:txBody>
      </p:sp>
      <p:sp useBgFill="1">
        <p:nvSpPr>
          <p:cNvPr id="33" name="Freeform 32"/>
          <p:cNvSpPr/>
          <p:nvPr>
            <p:custDataLst>
              <p:tags r:id="rId16"/>
            </p:custDataLst>
          </p:nvPr>
        </p:nvSpPr>
        <p:spPr bwMode="auto">
          <a:xfrm>
            <a:off x="1831975" y="4321175"/>
            <a:ext cx="684214" cy="241301"/>
          </a:xfrm>
          <a:custGeom>
            <a:avLst/>
            <a:gdLst/>
            <a:ahLst/>
            <a:cxnLst/>
            <a:rect l="0" t="0" r="0" b="0"/>
            <a:pathLst>
              <a:path w="684214" h="241301">
                <a:moveTo>
                  <a:pt x="0" y="184150"/>
                </a:moveTo>
                <a:lnTo>
                  <a:pt x="684213" y="0"/>
                </a:lnTo>
                <a:lnTo>
                  <a:pt x="684213" y="57150"/>
                </a:lnTo>
                <a:lnTo>
                  <a:pt x="0" y="24130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 err="1">
              <a:solidFill>
                <a:schemeClr val="tx1"/>
              </a:solidFill>
            </a:endParaRPr>
          </a:p>
        </p:txBody>
      </p:sp>
      <p:sp useBgFill="1">
        <p:nvSpPr>
          <p:cNvPr id="30" name="Freeform 29"/>
          <p:cNvSpPr/>
          <p:nvPr>
            <p:custDataLst>
              <p:tags r:id="rId17"/>
            </p:custDataLst>
          </p:nvPr>
        </p:nvSpPr>
        <p:spPr bwMode="auto">
          <a:xfrm>
            <a:off x="219075" y="4321175"/>
            <a:ext cx="684214" cy="241301"/>
          </a:xfrm>
          <a:custGeom>
            <a:avLst/>
            <a:gdLst/>
            <a:ahLst/>
            <a:cxnLst/>
            <a:rect l="0" t="0" r="0" b="0"/>
            <a:pathLst>
              <a:path w="684214" h="241301">
                <a:moveTo>
                  <a:pt x="0" y="184150"/>
                </a:moveTo>
                <a:lnTo>
                  <a:pt x="684213" y="0"/>
                </a:lnTo>
                <a:lnTo>
                  <a:pt x="684213" y="57150"/>
                </a:lnTo>
                <a:lnTo>
                  <a:pt x="0" y="24130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 err="1">
              <a:solidFill>
                <a:schemeClr val="tx1"/>
              </a:solidFill>
            </a:endParaRPr>
          </a:p>
        </p:txBody>
      </p:sp>
      <p:sp>
        <p:nvSpPr>
          <p:cNvPr id="37" name="Freeform 36"/>
          <p:cNvSpPr/>
          <p:nvPr>
            <p:custDataLst>
              <p:tags r:id="rId18"/>
            </p:custDataLst>
          </p:nvPr>
        </p:nvSpPr>
        <p:spPr bwMode="auto">
          <a:xfrm>
            <a:off x="7477125" y="432117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4" name="Freeform 33"/>
          <p:cNvSpPr/>
          <p:nvPr>
            <p:custDataLst>
              <p:tags r:id="rId19"/>
            </p:custDataLst>
          </p:nvPr>
        </p:nvSpPr>
        <p:spPr bwMode="auto">
          <a:xfrm>
            <a:off x="5057775" y="432117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9" name="Freeform 28"/>
          <p:cNvSpPr/>
          <p:nvPr>
            <p:custDataLst>
              <p:tags r:id="rId20"/>
            </p:custDataLst>
          </p:nvPr>
        </p:nvSpPr>
        <p:spPr bwMode="auto">
          <a:xfrm>
            <a:off x="219075" y="437832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8" name="Freeform 37"/>
          <p:cNvSpPr/>
          <p:nvPr>
            <p:custDataLst>
              <p:tags r:id="rId21"/>
            </p:custDataLst>
          </p:nvPr>
        </p:nvSpPr>
        <p:spPr bwMode="auto">
          <a:xfrm>
            <a:off x="7477125" y="437832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2" name="Freeform 31"/>
          <p:cNvSpPr/>
          <p:nvPr>
            <p:custDataLst>
              <p:tags r:id="rId22"/>
            </p:custDataLst>
          </p:nvPr>
        </p:nvSpPr>
        <p:spPr bwMode="auto">
          <a:xfrm>
            <a:off x="1831975" y="437832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8" name="Freeform 27"/>
          <p:cNvSpPr/>
          <p:nvPr>
            <p:custDataLst>
              <p:tags r:id="rId23"/>
            </p:custDataLst>
          </p:nvPr>
        </p:nvSpPr>
        <p:spPr bwMode="auto">
          <a:xfrm>
            <a:off x="219075" y="432117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5" name="Freeform 34"/>
          <p:cNvSpPr/>
          <p:nvPr>
            <p:custDataLst>
              <p:tags r:id="rId24"/>
            </p:custDataLst>
          </p:nvPr>
        </p:nvSpPr>
        <p:spPr bwMode="auto">
          <a:xfrm>
            <a:off x="5057775" y="437832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1" name="Freeform 30"/>
          <p:cNvSpPr/>
          <p:nvPr>
            <p:custDataLst>
              <p:tags r:id="rId25"/>
            </p:custDataLst>
          </p:nvPr>
        </p:nvSpPr>
        <p:spPr bwMode="auto">
          <a:xfrm>
            <a:off x="1831975" y="4321175"/>
            <a:ext cx="684214" cy="184151"/>
          </a:xfrm>
          <a:custGeom>
            <a:avLst/>
            <a:gdLst/>
            <a:ahLst/>
            <a:cxnLst/>
            <a:rect l="0" t="0" r="0" b="0"/>
            <a:pathLst>
              <a:path w="684214" h="184151">
                <a:moveTo>
                  <a:pt x="0" y="184150"/>
                </a:moveTo>
                <a:lnTo>
                  <a:pt x="684213" y="0"/>
                </a:lnTo>
              </a:path>
            </a:pathLst>
          </a:custGeom>
          <a:ln w="952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cxnSp>
        <p:nvCxnSpPr>
          <p:cNvPr id="134" name="Straight Connector 133"/>
          <p:cNvCxnSpPr/>
          <p:nvPr>
            <p:custDataLst>
              <p:tags r:id="rId26"/>
            </p:custDataLst>
          </p:nvPr>
        </p:nvCxnSpPr>
        <p:spPr bwMode="gray">
          <a:xfrm>
            <a:off x="7832725" y="4127500"/>
            <a:ext cx="0" cy="101600"/>
          </a:xfrm>
          <a:prstGeom prst="line">
            <a:avLst/>
          </a:prstGeom>
          <a:ln w="31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>
            <p:custDataLst>
              <p:tags r:id="rId27"/>
            </p:custDataLst>
          </p:nvPr>
        </p:nvCxnSpPr>
        <p:spPr bwMode="gray">
          <a:xfrm>
            <a:off x="5413375" y="3568700"/>
            <a:ext cx="0" cy="101600"/>
          </a:xfrm>
          <a:prstGeom prst="line">
            <a:avLst/>
          </a:prstGeom>
          <a:ln w="3175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5222875" y="4846638"/>
            <a:ext cx="381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2030</a:t>
            </a:r>
            <a:b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</a:br>
            <a:endParaRPr lang="en-US" sz="1299" dirty="0">
              <a:solidFill>
                <a:schemeClr val="accent6"/>
              </a:solidFill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46" name="Text Placeholder 10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186363" y="3370263"/>
            <a:ext cx="4556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7" tIns="0" rIns="2063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30979A1-87F4-417C-B2DC-336EEDE342B6}" type="datetime'''''''''''1''''''''''''''''''''''''''''''0''''7''''''''.0'">
              <a:rPr lang="en-US" altLang="en-US" sz="1299" i="1">
                <a:solidFill>
                  <a:schemeClr val="accent6"/>
                </a:solidFill>
                <a:cs typeface="Arial" panose="020B0604020202020204" pitchFamily="34" charset="0"/>
              </a:rPr>
              <a:pPr/>
              <a:t>107.0</a:t>
            </a:fld>
            <a:endParaRPr lang="en-US" sz="1299" i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Text Placeholder 9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318000" y="4846638"/>
            <a:ext cx="509588" cy="39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DG </a:t>
            </a:r>
          </a:p>
          <a:p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uptake</a:t>
            </a:r>
            <a:endParaRPr lang="en-US" sz="1299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9" name="Text Placeholder 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505200" y="4846638"/>
            <a:ext cx="5095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183" indent="-191601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024" indent="-26127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03" indent="-15518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EE </a:t>
            </a:r>
          </a:p>
          <a:p>
            <a: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uptake</a:t>
            </a:r>
            <a:endParaRPr lang="en-US" sz="1299" dirty="0">
              <a:solidFill>
                <a:schemeClr val="accent6"/>
              </a:solidFill>
              <a:latin typeface="Arial"/>
              <a:ea typeface="ＭＳ Ｐゴシック" panose="020B0600070205080204" pitchFamily="34" charset="-128"/>
              <a:cs typeface="Arial"/>
              <a:sym typeface="Arial"/>
            </a:endParaRPr>
          </a:p>
        </p:txBody>
      </p:sp>
      <p:sp>
        <p:nvSpPr>
          <p:cNvPr id="47" name="Text Placeholder 10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698750" y="4846639"/>
            <a:ext cx="6111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183" indent="-191601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024" indent="-26127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2803" indent="-15518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7903" indent="-129843" algn="l" defTabSz="89307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EV demand</a:t>
            </a:r>
            <a:endParaRPr lang="en-US" sz="1299" dirty="0">
              <a:solidFill>
                <a:schemeClr val="accent6"/>
              </a:solidFill>
              <a:latin typeface="Arial"/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43" name="Text Placeholder 6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930900" y="4846638"/>
            <a:ext cx="509588" cy="39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EE </a:t>
            </a:r>
          </a:p>
          <a:p>
            <a:r>
              <a:rPr lang="en-US" sz="1299" dirty="0">
                <a:solidFill>
                  <a:schemeClr val="accent6"/>
                </a:solidFill>
                <a:latin typeface="Arial"/>
                <a:cs typeface="Arial"/>
                <a:sym typeface="Arial"/>
              </a:rPr>
              <a:t>uptake</a:t>
            </a:r>
          </a:p>
        </p:txBody>
      </p:sp>
      <p:sp>
        <p:nvSpPr>
          <p:cNvPr id="50" name="Text Placeholder 6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642225" y="484663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2030</a:t>
            </a:r>
            <a:endParaRPr lang="en-US" sz="1299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737350" y="4846638"/>
            <a:ext cx="509588" cy="39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99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G </a:t>
            </a:r>
          </a:p>
          <a:p>
            <a:r>
              <a:rPr lang="en-US" sz="1299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ptake</a:t>
            </a:r>
          </a:p>
        </p:txBody>
      </p:sp>
      <p:sp>
        <p:nvSpPr>
          <p:cNvPr id="44" name="Text Placeholder 7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651750" y="3929063"/>
            <a:ext cx="363538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0637" tIns="0" rIns="2063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F62B831-B5FF-4BD5-940E-1133C24005EB}" type="datetime'''9''''''''''''''6''''''''.''7'''''''''''''''''">
              <a:rPr lang="en-US" altLang="en-US" sz="1299" i="1">
                <a:solidFill>
                  <a:schemeClr val="accent6"/>
                </a:solidFill>
                <a:cs typeface="Arial" panose="020B0604020202020204" pitchFamily="34" charset="0"/>
              </a:rPr>
              <a:pPr/>
              <a:t>96.7</a:t>
            </a:fld>
            <a:endParaRPr lang="en-US" sz="1299" i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892300" y="4846638"/>
            <a:ext cx="528638" cy="59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2030 (frozen tech)</a:t>
            </a:r>
            <a:endParaRPr lang="en-US" sz="1299" dirty="0">
              <a:solidFill>
                <a:schemeClr val="accent6"/>
              </a:solidFill>
              <a:latin typeface="Arial"/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40" name="Text Placeholder 5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52738" y="1952625"/>
            <a:ext cx="27146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7" tIns="0" rIns="20637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064D53C-B09E-411C-B71E-FAEAF16CC0DA}" type="datetime'''''''3''''''''''''''''''''''.''''1'''''''''''''''''">
              <a:rPr lang="en-US" altLang="en-US" sz="1299" i="1" smtClean="0">
                <a:solidFill>
                  <a:schemeClr val="bg1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/>
              <a:t>3.1</a:t>
            </a:fld>
            <a:endParaRPr lang="en-US" sz="1299" i="1" dirty="0">
              <a:solidFill>
                <a:schemeClr val="bg1"/>
              </a:solidFill>
              <a:latin typeface="Arial"/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Rectangle 38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085850" y="4846638"/>
            <a:ext cx="73814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Economic growth</a:t>
            </a:r>
            <a:endParaRPr lang="en-US" sz="1299" dirty="0">
              <a:solidFill>
                <a:schemeClr val="accent6"/>
              </a:solidFill>
              <a:latin typeface="Arial"/>
              <a:ea typeface="ＭＳ Ｐゴシック"/>
              <a:cs typeface="Arial" panose="020B0604020202020204" pitchFamily="34" charset="0"/>
              <a:sym typeface="Arial"/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77825" y="4846638"/>
            <a:ext cx="381000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299" dirty="0">
                <a:solidFill>
                  <a:schemeClr val="accent6"/>
                </a:solidFill>
                <a:cs typeface="Arial" panose="020B0604020202020204" pitchFamily="34" charset="0"/>
              </a:rPr>
              <a:t>2015</a:t>
            </a:r>
            <a:endParaRPr lang="en-US" sz="1299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Text Placeholder 1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41313" y="3751263"/>
            <a:ext cx="4556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7" tIns="0" rIns="20637" bIns="0" numCol="1" spcCol="0" rtlCol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766A36C-1E71-4164-9FAE-038928354BD4}" type="datetime'''''''''''''10''0.''0'''''''''''''''''''''''''''''''''''''">
              <a:rPr lang="en-US" altLang="en-US" sz="1299">
                <a:solidFill>
                  <a:schemeClr val="accent6"/>
                </a:solidFill>
                <a:cs typeface="Arial" panose="020B0604020202020204" pitchFamily="34" charset="0"/>
              </a:rPr>
              <a:pPr/>
              <a:t>100.0</a:t>
            </a:fld>
            <a:endParaRPr lang="en-US" sz="1299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Rectangle 52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1930400" y="1909763"/>
            <a:ext cx="501650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0637" tIns="0" rIns="20637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B70001D-1F79-43E7-9FEF-9B19679F57C0}" type="datetime'''1''''''''''3''''''''''''3''''.''''''''''''''''''9'''''''">
              <a:rPr lang="en-US" altLang="en-US" sz="1299">
                <a:solidFill>
                  <a:schemeClr val="accent6"/>
                </a:solidFill>
                <a:cs typeface="Arial" panose="020B0604020202020204" pitchFamily="34" charset="0"/>
              </a:rPr>
              <a:pPr/>
              <a:t>133.9</a:t>
            </a:fld>
            <a:r>
              <a:rPr lang="en-US" sz="1299" dirty="0">
                <a:solidFill>
                  <a:schemeClr val="accent6"/>
                </a:solidFill>
                <a:latin typeface="Arial"/>
                <a:ea typeface="ＭＳ Ｐゴシック"/>
                <a:cs typeface="Arial"/>
                <a:sym typeface="Arial"/>
              </a:rPr>
              <a:t> </a:t>
            </a:r>
          </a:p>
        </p:txBody>
      </p:sp>
      <p:grpSp>
        <p:nvGrpSpPr>
          <p:cNvPr id="61" name="Group 60"/>
          <p:cNvGrpSpPr/>
          <p:nvPr/>
        </p:nvGrpSpPr>
        <p:grpSpPr>
          <a:xfrm>
            <a:off x="195697" y="1194405"/>
            <a:ext cx="8291068" cy="4996648"/>
            <a:chOff x="461963" y="861030"/>
            <a:chExt cx="8291068" cy="4996648"/>
          </a:xfrm>
        </p:grpSpPr>
        <p:cxnSp>
          <p:nvCxnSpPr>
            <p:cNvPr id="16" name="Straight Connector 15"/>
            <p:cNvCxnSpPr>
              <a:cxnSpLocks/>
              <a:stCxn id="54" idx="4"/>
              <a:endCxn id="54" idx="6"/>
            </p:cNvCxnSpPr>
            <p:nvPr/>
          </p:nvCxnSpPr>
          <p:spPr bwMode="gray">
            <a:xfrm>
              <a:off x="461963" y="1294865"/>
              <a:ext cx="8291068" cy="0"/>
            </a:xfrm>
            <a:prstGeom prst="line">
              <a:avLst/>
            </a:prstGeom>
            <a:ln w="9525">
              <a:solidFill>
                <a:schemeClr val="accent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AutoShape 250"/>
            <p:cNvSpPr>
              <a:spLocks noChangeArrowheads="1"/>
            </p:cNvSpPr>
            <p:nvPr/>
          </p:nvSpPr>
          <p:spPr bwMode="auto">
            <a:xfrm>
              <a:off x="461963" y="861030"/>
              <a:ext cx="8291068" cy="43383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6" anchor="b">
              <a:spAutoFit/>
            </a:bodyPr>
            <a:lstStyle/>
            <a:p>
              <a:pPr lvl="0"/>
              <a:r>
                <a:rPr lang="en-US" sz="1400" b="1" dirty="0">
                  <a:solidFill>
                    <a:srgbClr val="0065BD"/>
                  </a:solidFill>
                  <a:latin typeface="Arial"/>
                </a:rPr>
                <a:t>Example retail sales load forecast, Canada</a:t>
              </a:r>
              <a:r>
                <a:rPr lang="en-US" sz="1299" b="1" dirty="0">
                  <a:solidFill>
                    <a:schemeClr val="tx2"/>
                  </a:solidFill>
                  <a:latin typeface="+mn-lt"/>
                </a:rPr>
                <a:t> </a:t>
              </a:r>
            </a:p>
            <a:p>
              <a:r>
                <a:rPr lang="en-US" sz="1299" dirty="0">
                  <a:solidFill>
                    <a:schemeClr val="accent4"/>
                  </a:solidFill>
                  <a:latin typeface="+mn-lt"/>
                </a:rPr>
                <a:t>% of 2015 actual retail sales</a:t>
              </a:r>
            </a:p>
          </p:txBody>
        </p:sp>
        <p:sp>
          <p:nvSpPr>
            <p:cNvPr id="55" name="Oval 54"/>
            <p:cNvSpPr/>
            <p:nvPr/>
          </p:nvSpPr>
          <p:spPr>
            <a:xfrm>
              <a:off x="5395913" y="5489575"/>
              <a:ext cx="638138" cy="337712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99" b="1" dirty="0">
                  <a:solidFill>
                    <a:schemeClr val="bg1"/>
                  </a:solidFill>
                </a:rPr>
                <a:t>0.2%</a:t>
              </a:r>
            </a:p>
          </p:txBody>
        </p:sp>
        <p:sp>
          <p:nvSpPr>
            <p:cNvPr id="56" name="Oval 55"/>
            <p:cNvSpPr/>
            <p:nvPr/>
          </p:nvSpPr>
          <p:spPr>
            <a:xfrm>
              <a:off x="7780338" y="5489575"/>
              <a:ext cx="638138" cy="337712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99" b="1" dirty="0">
                  <a:solidFill>
                    <a:schemeClr val="bg1"/>
                  </a:solidFill>
                </a:rPr>
                <a:t>-0.5%</a:t>
              </a:r>
            </a:p>
          </p:txBody>
        </p:sp>
        <p:sp>
          <p:nvSpPr>
            <p:cNvPr id="57" name="Oval 56"/>
            <p:cNvSpPr/>
            <p:nvPr/>
          </p:nvSpPr>
          <p:spPr>
            <a:xfrm>
              <a:off x="2159000" y="5489575"/>
              <a:ext cx="638138" cy="337712"/>
            </a:xfrm>
            <a:prstGeom prst="ellipse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en-US" sz="1299" b="1" dirty="0">
                  <a:solidFill>
                    <a:schemeClr val="bg1"/>
                  </a:solidFill>
                </a:rPr>
                <a:t>2.0%</a:t>
              </a:r>
            </a:p>
          </p:txBody>
        </p:sp>
        <p:sp>
          <p:nvSpPr>
            <p:cNvPr id="58" name="Rectangle 110"/>
            <p:cNvSpPr txBox="1"/>
            <p:nvPr/>
          </p:nvSpPr>
          <p:spPr>
            <a:xfrm>
              <a:off x="461963" y="5457825"/>
              <a:ext cx="1352013" cy="399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299" b="1" dirty="0">
                  <a:solidFill>
                    <a:schemeClr val="tx2"/>
                  </a:solidFill>
                </a:rPr>
                <a:t>Effective </a:t>
              </a:r>
              <a:r>
                <a:rPr lang="en-US" sz="1299" b="1" dirty="0" err="1">
                  <a:solidFill>
                    <a:schemeClr val="tx2"/>
                  </a:solidFill>
                </a:rPr>
                <a:t>CAGR</a:t>
              </a:r>
              <a:endParaRPr lang="en-US" sz="1299" b="1" dirty="0">
                <a:solidFill>
                  <a:schemeClr val="tx2"/>
                </a:solidFill>
              </a:endParaRPr>
            </a:p>
            <a:p>
              <a:r>
                <a:rPr lang="en-US" sz="1299" dirty="0">
                  <a:solidFill>
                    <a:schemeClr val="accent6"/>
                  </a:solidFill>
                </a:rPr>
                <a:t>%, 2015 – 2030 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2604657" y="5200080"/>
            <a:ext cx="3174280" cy="438496"/>
            <a:chOff x="2698750" y="5320149"/>
            <a:chExt cx="3003550" cy="438496"/>
          </a:xfrm>
        </p:grpSpPr>
        <p:sp>
          <p:nvSpPr>
            <p:cNvPr id="124" name="Bracket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 rot="5400000">
              <a:off x="4102438" y="3916461"/>
              <a:ext cx="196174" cy="3003550"/>
            </a:xfrm>
            <a:custGeom>
              <a:avLst/>
              <a:gdLst>
                <a:gd name="T0" fmla="*/ 0 w 115"/>
                <a:gd name="T1" fmla="*/ 0 h 1152"/>
                <a:gd name="T2" fmla="*/ 65 w 115"/>
                <a:gd name="T3" fmla="*/ 0 h 1152"/>
                <a:gd name="T4" fmla="*/ 65 w 115"/>
                <a:gd name="T5" fmla="*/ 528 h 1152"/>
                <a:gd name="T6" fmla="*/ 115 w 115"/>
                <a:gd name="T7" fmla="*/ 576 h 1152"/>
                <a:gd name="T8" fmla="*/ 65 w 115"/>
                <a:gd name="T9" fmla="*/ 624 h 1152"/>
                <a:gd name="T10" fmla="*/ 65 w 115"/>
                <a:gd name="T11" fmla="*/ 1152 h 1152"/>
                <a:gd name="T12" fmla="*/ 0 w 115"/>
                <a:gd name="T13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152">
                  <a:moveTo>
                    <a:pt x="0" y="0"/>
                  </a:moveTo>
                  <a:lnTo>
                    <a:pt x="65" y="0"/>
                  </a:lnTo>
                  <a:lnTo>
                    <a:pt x="65" y="528"/>
                  </a:lnTo>
                  <a:lnTo>
                    <a:pt x="115" y="576"/>
                  </a:lnTo>
                  <a:lnTo>
                    <a:pt x="65" y="624"/>
                  </a:lnTo>
                  <a:lnTo>
                    <a:pt x="65" y="1152"/>
                  </a:lnTo>
                  <a:lnTo>
                    <a:pt x="0" y="1152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3493443" y="5558718"/>
              <a:ext cx="1414164" cy="1999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CA" sz="1299" dirty="0"/>
                <a:t>Expected case</a:t>
              </a:r>
            </a:p>
          </p:txBody>
        </p:sp>
      </p:grpSp>
      <p:grpSp>
        <p:nvGrpSpPr>
          <p:cNvPr id="130" name="Group 129"/>
          <p:cNvGrpSpPr/>
          <p:nvPr/>
        </p:nvGrpSpPr>
        <p:grpSpPr>
          <a:xfrm>
            <a:off x="5880537" y="5200080"/>
            <a:ext cx="2395246" cy="438496"/>
            <a:chOff x="2698750" y="5320149"/>
            <a:chExt cx="3003550" cy="438496"/>
          </a:xfrm>
        </p:grpSpPr>
        <p:sp>
          <p:nvSpPr>
            <p:cNvPr id="131" name="Bracket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 rot="5400000">
              <a:off x="4102438" y="3916461"/>
              <a:ext cx="196174" cy="3003550"/>
            </a:xfrm>
            <a:custGeom>
              <a:avLst/>
              <a:gdLst>
                <a:gd name="T0" fmla="*/ 0 w 115"/>
                <a:gd name="T1" fmla="*/ 0 h 1152"/>
                <a:gd name="T2" fmla="*/ 65 w 115"/>
                <a:gd name="T3" fmla="*/ 0 h 1152"/>
                <a:gd name="T4" fmla="*/ 65 w 115"/>
                <a:gd name="T5" fmla="*/ 528 h 1152"/>
                <a:gd name="T6" fmla="*/ 115 w 115"/>
                <a:gd name="T7" fmla="*/ 576 h 1152"/>
                <a:gd name="T8" fmla="*/ 65 w 115"/>
                <a:gd name="T9" fmla="*/ 624 h 1152"/>
                <a:gd name="T10" fmla="*/ 65 w 115"/>
                <a:gd name="T11" fmla="*/ 1152 h 1152"/>
                <a:gd name="T12" fmla="*/ 0 w 115"/>
                <a:gd name="T13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152">
                  <a:moveTo>
                    <a:pt x="0" y="0"/>
                  </a:moveTo>
                  <a:lnTo>
                    <a:pt x="65" y="0"/>
                  </a:lnTo>
                  <a:lnTo>
                    <a:pt x="65" y="528"/>
                  </a:lnTo>
                  <a:lnTo>
                    <a:pt x="115" y="576"/>
                  </a:lnTo>
                  <a:lnTo>
                    <a:pt x="65" y="624"/>
                  </a:lnTo>
                  <a:lnTo>
                    <a:pt x="65" y="1152"/>
                  </a:lnTo>
                  <a:lnTo>
                    <a:pt x="0" y="1152"/>
                  </a:lnTo>
                </a:path>
              </a:pathLst>
            </a:cu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3029355" y="5558718"/>
              <a:ext cx="2342340" cy="19992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algn="ctr"/>
              <a:r>
                <a:rPr lang="en-CA" sz="1299" dirty="0"/>
                <a:t>Aggressive uptake case</a:t>
              </a:r>
            </a:p>
          </p:txBody>
        </p:sp>
      </p:grpSp>
      <p:sp>
        <p:nvSpPr>
          <p:cNvPr id="138" name="Oval 137"/>
          <p:cNvSpPr txBox="1"/>
          <p:nvPr>
            <p:custDataLst>
              <p:tags r:id="rId43"/>
            </p:custDataLst>
          </p:nvPr>
        </p:nvSpPr>
        <p:spPr>
          <a:xfrm>
            <a:off x="8707426" y="1695079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9199423" y="1721287"/>
            <a:ext cx="2488173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CA" sz="1400" dirty="0"/>
              <a:t>Electrification of vehicles drives </a:t>
            </a:r>
            <a:r>
              <a:rPr lang="en-CA" sz="1400" b="1" dirty="0"/>
              <a:t>slight increase in demand</a:t>
            </a:r>
            <a:r>
              <a:rPr lang="en-CA" sz="1400" dirty="0"/>
              <a:t>, but the increase is </a:t>
            </a:r>
            <a:r>
              <a:rPr lang="en-CA" sz="1400"/>
              <a:t>offset by the combined effects of EE and DG</a:t>
            </a:r>
            <a:endParaRPr lang="en-CA" sz="1400" dirty="0"/>
          </a:p>
        </p:txBody>
      </p:sp>
      <p:sp>
        <p:nvSpPr>
          <p:cNvPr id="74" name="Oval 137"/>
          <p:cNvSpPr txBox="1"/>
          <p:nvPr>
            <p:custDataLst>
              <p:tags r:id="rId44"/>
            </p:custDataLst>
          </p:nvPr>
        </p:nvSpPr>
        <p:spPr>
          <a:xfrm>
            <a:off x="3635120" y="3413126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199423" y="2893644"/>
            <a:ext cx="2488173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CA" sz="1400" dirty="0"/>
              <a:t>Energy efficient technologies such as </a:t>
            </a:r>
            <a:r>
              <a:rPr lang="en-CA" sz="1400" b="1" dirty="0"/>
              <a:t>LED lights, high-efficiency air conditioners, and </a:t>
            </a:r>
            <a:r>
              <a:rPr lang="en-CA" sz="1400" b="1"/>
              <a:t>smart thermostats </a:t>
            </a:r>
            <a:r>
              <a:rPr lang="en-CA" sz="1400"/>
              <a:t>drive a significant decline in electricity demand</a:t>
            </a:r>
            <a:endParaRPr lang="en-CA" sz="1400" dirty="0"/>
          </a:p>
        </p:txBody>
      </p:sp>
      <p:sp>
        <p:nvSpPr>
          <p:cNvPr id="77" name="Oval 137"/>
          <p:cNvSpPr txBox="1"/>
          <p:nvPr>
            <p:custDataLst>
              <p:tags r:id="rId45"/>
            </p:custDataLst>
          </p:nvPr>
        </p:nvSpPr>
        <p:spPr>
          <a:xfrm>
            <a:off x="4482255" y="3722232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199423" y="4384302"/>
            <a:ext cx="2488173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CA" sz="1400" dirty="0"/>
              <a:t>Distributed generation of electricity (e.g., </a:t>
            </a:r>
            <a:r>
              <a:rPr lang="en-CA" sz="1400" b="1" dirty="0"/>
              <a:t>solar panels for residential use</a:t>
            </a:r>
            <a:r>
              <a:rPr lang="en-CA" sz="1400"/>
              <a:t>) further decrease daily demand on the grid</a:t>
            </a:r>
            <a:endParaRPr lang="en-CA" sz="1400" dirty="0"/>
          </a:p>
        </p:txBody>
      </p:sp>
      <p:sp>
        <p:nvSpPr>
          <p:cNvPr id="67" name="Oval 137"/>
          <p:cNvSpPr txBox="1"/>
          <p:nvPr>
            <p:custDataLst>
              <p:tags r:id="rId46"/>
            </p:custDataLst>
          </p:nvPr>
        </p:nvSpPr>
        <p:spPr>
          <a:xfrm>
            <a:off x="2815802" y="2235160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8" name="Oval 137"/>
          <p:cNvSpPr txBox="1"/>
          <p:nvPr>
            <p:custDataLst>
              <p:tags r:id="rId47"/>
            </p:custDataLst>
          </p:nvPr>
        </p:nvSpPr>
        <p:spPr>
          <a:xfrm>
            <a:off x="8707426" y="2838922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>
                <a:solidFill>
                  <a:schemeClr val="bg1"/>
                </a:solidFill>
              </a:rPr>
              <a:t>2</a:t>
            </a:r>
            <a:endParaRPr lang="en-CA" b="1" dirty="0">
              <a:solidFill>
                <a:schemeClr val="bg1"/>
              </a:solidFill>
            </a:endParaRPr>
          </a:p>
        </p:txBody>
      </p:sp>
      <p:sp>
        <p:nvSpPr>
          <p:cNvPr id="69" name="Oval 137"/>
          <p:cNvSpPr txBox="1"/>
          <p:nvPr>
            <p:custDataLst>
              <p:tags r:id="rId48"/>
            </p:custDataLst>
          </p:nvPr>
        </p:nvSpPr>
        <p:spPr>
          <a:xfrm>
            <a:off x="8707426" y="4304922"/>
            <a:ext cx="345333" cy="3436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en-CA" b="1">
                <a:solidFill>
                  <a:schemeClr val="bg1"/>
                </a:solidFill>
              </a:rPr>
              <a:t>3</a:t>
            </a:r>
            <a:endParaRPr lang="en-CA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029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3"/>
  <p:tag name="ACCENT" val="4"/>
  <p:tag name="LINE" val="2"/>
  <p:tag name="MTBTACCENT" val="Accent2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7&quot;&gt;&lt;elem m_fUsage=&quot;2.82503146905351032458E+00&quot;&gt;&lt;m_msothmcolidx val=&quot;0&quot;/&gt;&lt;m_rgb r=&quot;05&quot; g=&quot;B8&quot; b=&quot;17&quot;/&gt;&lt;m_nBrightness val=&quot;0&quot;/&gt;&lt;/elem&gt;&lt;elem m_fUsage=&quot;2.49946822231301046813E+00&quot;&gt;&lt;m_msothmcolidx val=&quot;0&quot;/&gt;&lt;m_rgb r=&quot;11&quot; g=&quot;76&quot; b=&quot;FF&quot;/&gt;&lt;m_nBrightness val=&quot;0&quot;/&gt;&lt;/elem&gt;&lt;elem m_fUsage=&quot;1.90304325272217056408E+00&quot;&gt;&lt;m_msothmcolidx val=&quot;0&quot;/&gt;&lt;m_rgb r=&quot;F2&quot; g=&quot;7F&quot; b=&quot;00&quot;/&gt;&lt;m_nBrightness val=&quot;0&quot;/&gt;&lt;/elem&gt;&lt;elem m_fUsage=&quot;1.02095721000000017042E+00&quot;&gt;&lt;m_msothmcolidx val=&quot;0&quot;/&gt;&lt;m_rgb r=&quot;FF&quot; g=&quot;FF&quot; b=&quot;00&quot;/&gt;&lt;m_nBrightness val=&quot;0&quot;/&gt;&lt;/elem&gt;&lt;elem m_fUsage=&quot;7.76759051205581751987E-01&quot;&gt;&lt;m_msothmcolidx val=&quot;0&quot;/&gt;&lt;m_rgb r=&quot;E5&quot; g=&quot;E1&quot; b=&quot;DF&quot;/&gt;&lt;m_nBrightness val=&quot;0&quot;/&gt;&lt;/elem&gt;&lt;elem m_fUsage=&quot;3.45721198850894528842E-01&quot;&gt;&lt;m_msothmcolidx val=&quot;0&quot;/&gt;&lt;m_rgb r=&quot;00&quot; g=&quot;5C&quot; b=&quot;D9&quot;/&gt;&lt;m_nBrightness val=&quot;0&quot;/&gt;&lt;/elem&gt;&lt;elem m_fUsage=&quot;2.28020152264671982500E-01&quot;&gt;&lt;m_msothmcolidx val=&quot;0&quot;/&gt;&lt;m_rgb r=&quot;5C&quot; g=&quot;D2&quot; b=&quot;FF&quot;/&gt;&lt;m_nBrightness val=&quot;0&quot;/&gt;&lt;/elem&gt;&lt;elem m_fUsage=&quot;2.14588764159218986505E-01&quot;&gt;&lt;m_msothmcolidx val=&quot;0&quot;/&gt;&lt;m_rgb r=&quot;BE&quot; g=&quot;ED&quot; b=&quot;FF&quot;/&gt;&lt;m_nBrightness val=&quot;0&quot;/&gt;&lt;/elem&gt;&lt;elem m_fUsage=&quot;7.97664430768725701837E-02&quot;&gt;&lt;m_msothmcolidx val=&quot;0&quot;/&gt;&lt;m_rgb r=&quot;82&quot; g=&quot;B7&quot; b=&quot;FF&quot;/&gt;&lt;m_nBrightness val=&quot;0&quot;/&gt;&lt;/elem&gt;&lt;elem m_fUsage=&quot;5.81497370030401097840E-02&quot;&gt;&lt;m_msothmcolidx val=&quot;0&quot;/&gt;&lt;m_rgb r=&quot;FF&quot; g=&quot;B8&quot; b=&quot;68&quot;/&gt;&lt;m_nBrightness val=&quot;0&quot;/&gt;&lt;/elem&gt;&lt;elem m_fUsage=&quot;8.53516712084285457396E-03&quot;&gt;&lt;m_msothmcolidx val=&quot;0&quot;/&gt;&lt;m_rgb r=&quot;6F&quot; g=&quot;8B&quot; b=&quot;F3&quot;/&gt;&lt;m_nBrightness val=&quot;0&quot;/&gt;&lt;/elem&gt;&lt;elem m_fUsage=&quot;7.00097245482591678395E-03&quot;&gt;&lt;m_msothmcolidx val=&quot;0&quot;/&gt;&lt;m_rgb r=&quot;66&quot; g=&quot;66&quot; b=&quot;66&quot;/&gt;&lt;m_nBrightness val=&quot;0&quot;/&gt;&lt;/elem&gt;&lt;elem m_fUsage=&quot;4.63839768658810738117E-03&quot;&gt;&lt;m_msothmcolidx val=&quot;0&quot;/&gt;&lt;m_rgb r=&quot;BE&quot; g=&quot;B5&quot; b=&quot;AF&quot;/&gt;&lt;m_nBrightness val=&quot;0&quot;/&gt;&lt;/elem&gt;&lt;elem m_fUsage=&quot;4.17455791792929655631E-03&quot;&gt;&lt;m_msothmcolidx val=&quot;0&quot;/&gt;&lt;m_rgb r=&quot;CF&quot; g=&quot;D8&quot; b=&quot;FB&quot;/&gt;&lt;m_nBrightness val=&quot;0&quot;/&gt;&lt;/elem&gt;&lt;elem m_fUsage=&quot;3.75710212613636698742E-03&quot;&gt;&lt;m_msothmcolidx val=&quot;0&quot;/&gt;&lt;m_rgb r=&quot;9F&quot; g=&quot;B2&quot; b=&quot;F7&quot;/&gt;&lt;m_nBrightness val=&quot;0&quot;/&gt;&lt;/elem&gt;&lt;elem m_fUsage=&quot;2.21853123446226355511E-03&quot;&gt;&lt;m_msothmcolidx val=&quot;0&quot;/&gt;&lt;m_rgb r=&quot;CD&quot; g=&quot;20&quot; b=&quot;2C&quot;/&gt;&lt;m_nBrightness val=&quot;0&quot;/&gt;&lt;/elem&gt;&lt;elem m_fUsage=&quot;1.99667811101603706950E-03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PREVIOUSNAME" val="C:\Users\Jesse Noffsinger\Box Sync\Cleantech SL\05 Conferences\Speeches &amp; Public presentations\20171006 - Aspen keynote DP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HqvLqRDCIbHqWFOiWm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zEbzM.Rp25vxgZjegTn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rOi6fuSgO48hLkAHN_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u3AL6QBWQaQxC5keGt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0wRR8ESyyct0_Ry5DU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Lq6LOhRP2vMT_SlKVW2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yWRdJKQgOBcPFecJcK2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Y2E2HQ0uyiOI3Cczr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Xu.5MIQv6dCRdJrGXV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XI0Cz2SQWHfT2.DVEM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gwNOWTnOd1JDXubkH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2vBVjNT.yhlaIUjWvXM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SVhyKITseQMJ9xjF8tE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9gz4gZTeipIMjEm.nK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QxjWH5StyYQwzltvBX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ylsAoeSeWAZ.TxBTirz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b6vuXISuu.gHhD5W24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mQSAnrTLyPZOPBG0SL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rPkgTHTlOfEhnI3baZe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ra9cBTEk2DdF65qDIG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Kkwupqq0abWzZitP_tO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xrjj8yl0qCXTClqZaM2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3ZkjQH.kuqvxB3op1fH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BrtMVvp0OA7GEeQFDRE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xCSFRw3U2hfYpUQeGA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oybfHcsE21sQOasBsao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RByVEOgEWGBjiEnyJi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V2GLgBZEuaCs8gFFyBu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0KU7u7VU.bmbw2zMKkf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f2Q4qe0k.pdfpxCTh_0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jMpm_RZ0Os60.WQsA.h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Z6IIvTSsKInJK12v08b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mmIqVTSdW2Bnvs1CXG2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BPvIEhzkSIgjM4fMjsI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eDBpDWL0WhaQjcy2Lx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Rp6kv7Rk6LfZfDu8yDe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st8Ax4xkO8Pb1RWKwC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FqlsnuTQmOONzm4C8EP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dcRabEC0itxt.v7B1u5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r3tzSrr0WEYYaSB82UV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EN_2ecN0K7ZrRHdvLU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zFZoXfpkO2NkoOA9KfP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uM5Iwr80SLmbAbU5DH3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RNGcAM3USjY9xdu58eI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HM4KUkn0K4LLybnWvX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gnCAoalkW0rY8HFoHz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AkW1W3bkSxV3ecfy.nQ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rrLuSFwkOfB8S22YCON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kz5PfHfE6sFSVEg3Gf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TwpkP88EidIUH5uOujz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BjMa7dzkmOyYd78dUsC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uwsNj9t025u5ubxRewU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dXNzBZEka9QfWNrMHz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1XFYMFnUSWaT6I78Cx4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TAcFXjqU.e0RPzhGLF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GPc6vblkiXjqLhSXONc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8OaI5cQPCZ1nkMexZPL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cdUGn5TSS__ONnsALRB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R0YJ1P1UuaSjfbQuUYD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TQnPV27EG4gpshX1Rcp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PTT0oo7EuN.HOzMf9K3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61SKz1XEiNjJtnVWyZQ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fot2gLuEyJsgQ.4ReEI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iZO0powEKUwXvNnQ7DX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TqfJlrTkWZtQMAsH4BJ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a3EfhaiUinFqntsu.o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a1haAtESVmtjF8P0A8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EaQS2p8Eu2YZMEOAVar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2zRr0vcUu8FVLBEE4n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HIdN7ImUGv4G.JkGqyT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Pf.nCRRQKI.1D_TLGAT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TPGcnIQUynou0ehvWU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TPUgs5Qm6Qw.rbB3xol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077_yCQ5.zo2xslnV3x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S6RU2TX.zFgMYFbcJ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POuoU0U0S_vpaoioJNF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y0.vtFQkihp3Caoajqo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fbte79LkmQemle8AS9E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mW_43oUk6Ks2PlMVqM4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1j_bcm4UqhQP2TLMy2C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LG.gAGJ0CkbPXaekePs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MjTpzj.EmR_LL7K7f7L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MBuGzqzEaKzOS2.HGUV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AYcF5tXk.lu29m1NTi3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T.fC4dREq2_9dEf8_B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WRhfqBLUCjUu4XhhjMS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QEaH7m5EykPZDy3mV_l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XLm0ESsyVm8SbcIPf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lwsuf0TrSBQS7vkZOPi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pKao.WzkOPMbPSaPXGd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5esn3pcUq1wIP8KwiQr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kCbKfnJ0yTL3sH34Pp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P6580QEiUbRuFqj._X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ertqOYSvuLJxx69N3Dz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SslhabwUaNc7naPO2m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CTwORWQsW8K6mJowpx8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21ag13MkWwYmS9oQpWw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gc7BsVQcOv6vCbXbEC2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v8p25QKGB8zhwIem6L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HQB8IxnEyKe8fW4QJT0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v2vqTgk06GRMXumZs8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t.jMiQJCHbMrc_A7f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FBsYuDQaShzoRm5qio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Z8YPA_SUiqlzW9JP.3o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5GhcjFSZGRWaqXIEXqW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ClO0QIRCK4PRkOGZNN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.W9BkuRL25pFpGLIbh4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6xrIx_TO2Kt6y7fsC6m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7r6NSDTtu4d7GdAFXA1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.keu_oQ8KXxja7WcMxA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sj05xQTbm7y8Yed60q6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VL_r.iRcOntLiyeX0ad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YgppptTy27CQDIWA61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gP6SnR3yHo.AQaAPZR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AgOJBYTOK2mtsAsi0wv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7JlsbLRmSWNeUaJ50Rf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MzZpvRRvS2q4nCKQ5Rd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APugyT5W2.i2iGlpgq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atzug9RhOX_cvfyJ4MV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DNujNLQse0GWkWfc5wp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QiLdwMQKKFLgnS286e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C09bNQRuCLBRJ.d4Gib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OXFwMBSPyY53eyNtthw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uDIBbJQRSO8TN5V0MMj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mjATgGTlymRcZn9guAw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jcv2uhTRm4K.dLccF1D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P9ew2WScW0AhThfhhAt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A8cwZbRXuoQmNtxUdgP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8N._xCRHimyP_9asfTk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XBZ_wjTNe5ks0wCFrq4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1UeooqSI2VqjwgTPQoL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i1k.YlT8.FEMMUXmvxi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_8H5KDRwSKtIkAbJSD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QIi6jSlaUQfWe9Acqj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ecdQmHTlKJTuzyYAuQ7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g6fLwmQF6umj_CnQu3e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zLFs4Tme2rSZG_4U_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PmcG9wT.OZsd_jOmp39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08y9sQThecar1TbOvbY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12ReGR.ygJ8tOE0bZR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b65u2NQyeXjZodPHFzL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cHw3r.QiCfQxjB76J66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5_vu0xSmiTUwoQ0Lkv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zPSMDhTd2vxAuJnFMqt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dbYkyITeComo2RQ42U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KGqf05SUG1Ofb.q1j7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CXaAmfT16hk.8DEnYbn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IX9XrYS0.FWURU_cIjd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KObif4SHKZjCyEizfg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gfFHDASeKO2MhLNo.XP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7.lvcVSnyh1yR8AtUoj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NJQ.jIRFCAw9g86eDX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bWDcwMQMmZsut_MT2z.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PmGT3MSgaTV2R7qr5Hy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qGnnyaTyGeUJVkT243A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s6ZJzuTBSLpEVHcLwR0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Z3yCXDTxyR1bdz93BOv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_uOD1TSGGht.XCFzaYI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giU2FvSSubNc7J0YlBe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NRnEaQRpaaduPTirTZh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jUrpiCTuqlXQw5TNIRq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.EN1vKR4Oyv_mVUl.q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Su0CtTbKiYoSBnwFJV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3kAmy3R1mIE4bbbX6WU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ZCm9sjQ6qbt3acVd.Jh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G4YpaSRmBfL6WCgqAv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iiVmCTTyOOX0pzBuQIq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1X0Ne4QHO_8GdXvoXTT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IT9V5nS06NJjKjb5dr2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tHPF9SVmQTWEvE75xA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LvZMhfSwGm6KbeO0p5j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AAt0_8QfW5wZ37Xk_6d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poVGHZR9i4qDczJ2DCM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RW03UgRreUWMrcyuSX9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ywcLVIQgmlzdtHBTXtH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CwmTrzQ1aJKJkK6DgiQ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avfRLrSNCmMQSsNnyX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4AuuN1Tf.Fm_SQNLrDf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yAmF0Rv2swNhrpxjsj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m1.vRGQ7Kzu2q_3fQOq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UuAXdyQPSGnr0D7XIaw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6NyYCOSRaF7Xi9SKHs7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Xjxa9Rv2FCSoEJWJQc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U8TrcfQmCVN0PTg27Mi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xaCmTgRHyOk1vrYM95A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B7zMyhRVKfzUIFgUBSu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iGDA48Sbq.eaSsB.t7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tPjmnMRaSWRlLpct95S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f5T0BsRk6hH1nNw.cMV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aufpJ4Tja2UiSepnfPF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.v7xmdTVGpcEc.tpJpF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GHJYFTtKoEysekotVv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nLgbwbS6u8XSpLOPlEl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LA1FdKSOKtR9OF_C8JC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o9bdh6TiK4SgLGrJ6aX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WaRWjsS_ilwDf8hOa9C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APnf7hS66VEyc5MT6J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0MF0lERGKBkAwOf_S9N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e2KuAdRtGmC9VqprUo3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XIgG1SBq23BsLOaN6T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AMi8adSPWM1hoDI5Y2i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C1Np_eQk2VREDChFHcl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WuvWWmQ7uNLOGW48xbH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w.7BHsSdOOYGDKSb6vv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vHdeksSAieOro0RcuZc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stick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QBPGwmSQiPfurFqNUqX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UhaNKXT9m4TAYDG.mw_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TtnxGxQc6k_EJKhSFf6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hZphD5SuuUSs4zviATF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DHFcuOSwSCRgLIstyqs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WvvHuISy6J0ik3Y47YG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5cNqktTuaO4jE6Zt5y3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IcoDvUR.y2r_w7uAtd4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sK3XmqQxq9b9pOf8Nm0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cS1jzcR9WJ0Fzxu1N2L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FEs0YTQi2bcSv44IRxV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v3fAoSeOGJZydFMgWX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y2vpeaQVuK0yz4SONQl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CsmOl7QHWsOBR0H4wb3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MoeUYGQSOe_nwkzrJJi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2dkuTUT8KqYNVE8sBZE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70rMDEStuYZcOFf3JQD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dS_zO9QQCMgZRPkvpU2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ertEnjQ.SKCc7v7YQd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9gYvNQjinUNRg.klmn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Wzud7TuO481EhUsEUT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qNNtnRpy241JsGF.DO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are1YUTkWD8EZcpyjR0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T3gFl5TjegwFc8QstEn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oIISOCQAynq4gD7Nrz5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cJoKTMSQaQz70l760Sn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3YkI1XTCCLwGVDZwYlX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nltBW5Q6iE0DndpiTkm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FLRoXeSsWZQqZI4P46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zYmg3gSBuAfi3v0mK6x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jOY6wdQ.2MNRcz2MCSt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ZYeBGIQpy47eyQv9KQV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Hze_qQNKjpblgRs0cM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5TrS.eQKik3t079XQaq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KVE.tMR7qfYIRXENyAx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tlB062QoG1DZsnS9XMP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xGF9b2S2GfWuZOY2tKs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eP3cRRYWzwKsRX8oAJ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vZhv1oRTm5jiUGk5Lf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ERmS0ZQY6k7zQuI.GfA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sYA7SxRhyHyBZS79jJm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uve6isSqCYfYN3G3F.5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b99rw3SziY72Gx9yTEf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vvC.G4QduHW2IFC4L_5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DIKneKSoe1icY0AHZI0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hgLNkHTzyxJcTD0sofs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s_nmWwT6qIdaRRmg7x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r5wLPiQLOo1I5wc54RB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Smru.nR_OmQBEw0mh2H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t_sNbVSRO7Vl_W2FE3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nOPH__R8KMZIXTt_dM8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6288wTSmOi4pONZi3x_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RKVoJTsabHNe2WVGQ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KN6YjDTma5ZZTO9V1p.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MtIznnTASGrqYeHdJxn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duUQURjSZA5UCSBHXZ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79dzaQQOmJqDjGgHwhE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I1HLzzRZCirCBsnsxdE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goClcQ96TG3CFLCdHr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U4MiXaRgCMA5uUlj5fZ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YCGjACSSmhb1SmprKv.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X_toB5QsyE7S6dD_XCf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3Ysl_xTxKqYshgdtdc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bAZXZjSXKac_x8iJX1B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xzy9vYQhatY10kMODCG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Ws4vl8TWmAO5vzFpDgL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2KQjbLSMGPYhCxwkVDY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DqA4sQMmCwSzdnrQyb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W8Cp99R2W0m6G7UaS9V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j_NBnTLicFdX9hwR33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2VYgBkQmKLoZLgMgCF3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fkI3EoRgmBxlwy38V8A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VTsnZnRIirBoaDTz3pn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ZFgLlQoOLZyeuOeiMF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uLB.8yTySUND5lmKiMT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Q51Sf6Rg2qQp2jRm0Wn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gFORoQwiOzw85vF._d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XHDJx6R5.ok8rubp27M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.4wCPSQD6CmR87rOs0_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lBaIj5QJSRRCJdW1pC3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_7K4C5Sl2UFWeEMHwXE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ffrsjHRhOZLjyfoQuQA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YlBZQ7Qp.Gw98_HZfxm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ulvGe0SP.2z_tb9UkbA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dYz2jvQpaqsrRHXWBa4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1lPpUgQ8KEe_NX8zyRr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.Y.kpdSJipbhrwXVxjm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UfKHOnQhydYB1vWvrQj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vqwCudRk.kDBsCNS9Qz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.1c7avRCC7eXc1DpbJ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4qoBTcTOKdznQWtuAHk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IIR8wQTqWLot2CmD.Ph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jiDo5ZTWW1JbS6WETN9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BISrGfT.eI4NhEZKRC3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J5Q1MQeGOVCRA6RBxp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ZNihazSCCZQO8T_EiL_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OpDsijSriu_G3JfWSrH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imissCSTeJkoJRSyPa4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GawU8Tki_8dEBfrg.t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UiMF58T.2mJSVnnWI..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gYsPzfTEW_Bnnnk2R6x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xYmLf1Q.KwphxWrKdgn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sJTJqOQKGXboujOTCCd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kimsWTSd212TGMy2Ce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0fkz22TgqcZKGplOU4J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C0Jic0T4SYT9VAVEufL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P72CKSrO1__Hj4.qYG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dTvaFcRXObqEjcBnlyl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xAwS1vSJ.ymzu2HYR9s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tTsKHNQjmZclnVVXZ8B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E168fTQ2ykNIZc0OeWx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F869CRRMyXfO9Duu8gQ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6k_a.MTzGiuHnymursF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86R_aQeGbK2KfsLlEw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z2NyAnS0uSPg8_L5kOc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6zQYXIQHeUZXJXkseia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tRqOt_SxCTCnquJVb_j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hgVOA2RR.6CWGHGhJpu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7F73T5QqqmKgz6V4QcF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bGlK8WTyOSz4Mzcdq2j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3ANkbS8CAhpb.XI4jh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.oahjHR0CsA2NANhpeZ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cn0wLQSVe5zVVhrTg0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BMRbYRCuizoadmwMci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zPw884T3y.h00A0TU6K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XIvRUQ6GrPuopPOZNg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QlCtHQT9m61h7_9quBR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qFwwh4Q_qBZtQFrwREl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DDrrlhR1qObpGwDkmzP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IiZ2xpQr6fGq.axQ1Oh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aH7B6cSJOevuFjzpg6L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u78em.Q5uah5pKrfwZt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.oj6JVTBe9YloUV8Gj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Ar1PJS7GYFXJXIhScA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HohouOSWWaeuLpCH3.l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6UnE7gQ6qEClsd_yQ1B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ogmstlRxGIGKGw5NSkB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n4hfR0QUaUKB5LbzMAP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snEFC6R6era6X_LQQO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2YUIh_RNG66sv_uJp6B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.HVUNPRa6W8hMBBAsXd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zhadA2QwaTfw2p6169R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5VRSGVTSmXXG9NdaBg5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KlmjDXSdK3MccccM_wy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Yzza1LTAimN7867TiJX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9LzXf5R9.J.Z5Y1Sz4a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1TlAcrTq.OGaOQYmy2t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wwuzdQcaj_1Ta1DYWs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Y7q.tsT6KYPgV9aIzHZ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KNifObSOqt3BMtDpENp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.06YznQu.qD3Izxw1ef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VORITESLIDE" val="1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6dYlzgQ8uoLzCedQOHiw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4_FYTSR2q3G9KhP0R6d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l7tdy8Qay5tT.UBCOYD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XAA7dhRs6Y9xDI_.dU0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qP5GN.SW.GYNQDKtry.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pg1JhLSbel5xGr4A6a9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4ybsUWTZKiby6j07Zt.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.IKM0oSeaywaos30gpug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MX3UXATY6DE0m.MLwdP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2TUTaxTiCGtkGPw9a33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RGkJ73SjCnbPROLNsHu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VjBDkgTKWP9mW3vF0I5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3nTRoRRIGcRuTQtKWO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.5LdETYWhRvgeURnk8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npJLXfTVyTXPqYG6qmp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LVYm9uTlO6UsxltAwIQ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TBZFBSQGjPM8gXCgX2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WiA_0CQOGoZ_PZfsWyO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3w2E4ITu.fsY9nVAZZO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VoHbnPRN2YZ8p28dnhv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GzrQSLSDGwrFq1i_2s2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VX_4STvGZyz6NNDeSc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Z3wxNqTwOzos6KYXYs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YBaWIVR_aIqoapBe2aK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yg7nBQj.WvbPT1kWEN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tMIgVESgWxdHCdLWci9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2YassT4q9lHV6NtvoE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h4aL8pSzae0TckKQxXU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grres1SzSmSTpdptmG7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R98BnRhuGM9JyAHpbf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Nv9biWQTutGLhffyNmE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I0WsBkS6aqjZn5bHylk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TMT4oRrOQR3Wqm0iq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wNNs3fSRqMlXoEp4mSJ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hdIEixTFq_cOWuJcWPn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Hl9mzFRWWX1U9YeO4Mv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SghMysQ0W6OoIqYdwCm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i20o9LQAeDhplZ8dfJn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rJyI17TJi9y2UpAF6Ty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J5l7E6RFiROkU6ktOMM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c_wpCvSpOMfT0HJPmky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OR3Uq.YykkSbKGBNS3ut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lMUqD4QKWQd9cJmwIvd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rFX7McTDmeT9rpSTgSn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U_mjMcRmSr_9.A8ADit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uOYKt3TQuJiVg82Rzmz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Gz9t6ISlmFlQVlePoPd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HSb8cZTiOya0pWdCxr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E3LKUmSs.HRbKN8FbBt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7gGnWCSJ6XttEhjwn2e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J7GEeASQW1OJqNGC.k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6WHc8Kk6FVGZt0Kns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Firm Format - template">
  <a:themeElements>
    <a:clrScheme name="Energy Insights">
      <a:dk1>
        <a:srgbClr val="002960"/>
      </a:dk1>
      <a:lt1>
        <a:srgbClr val="FFFFFF"/>
      </a:lt1>
      <a:dk2>
        <a:srgbClr val="002960"/>
      </a:dk2>
      <a:lt2>
        <a:srgbClr val="BEB5AF"/>
      </a:lt2>
      <a:accent1>
        <a:srgbClr val="002960"/>
      </a:accent1>
      <a:accent2>
        <a:srgbClr val="0065BD"/>
      </a:accent2>
      <a:accent3>
        <a:srgbClr val="00ADEF"/>
      </a:accent3>
      <a:accent4>
        <a:srgbClr val="002960"/>
      </a:accent4>
      <a:accent5>
        <a:srgbClr val="F27F00"/>
      </a:accent5>
      <a:accent6>
        <a:srgbClr val="666666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nergy Insights Widescreen 16x9.potx" id="{EB3E6362-414C-4878-B772-13CC41C8C517}" vid="{9A1E8131-4F3A-4C56-86D7-0A7F7A45C8CE}"/>
    </a:ext>
  </a:extLst>
</a:theme>
</file>

<file path=ppt/theme/theme2.xml><?xml version="1.0" encoding="utf-8"?>
<a:theme xmlns:a="http://schemas.openxmlformats.org/drawingml/2006/main" name="1_Firm Format - template">
  <a:themeElements>
    <a:clrScheme name="Energy Insights">
      <a:dk1>
        <a:srgbClr val="002960"/>
      </a:dk1>
      <a:lt1>
        <a:srgbClr val="FFFFFF"/>
      </a:lt1>
      <a:dk2>
        <a:srgbClr val="002960"/>
      </a:dk2>
      <a:lt2>
        <a:srgbClr val="BEB5AF"/>
      </a:lt2>
      <a:accent1>
        <a:srgbClr val="002960"/>
      </a:accent1>
      <a:accent2>
        <a:srgbClr val="0065BD"/>
      </a:accent2>
      <a:accent3>
        <a:srgbClr val="00ADEF"/>
      </a:accent3>
      <a:accent4>
        <a:srgbClr val="002960"/>
      </a:accent4>
      <a:accent5>
        <a:srgbClr val="F27F00"/>
      </a:accent5>
      <a:accent6>
        <a:srgbClr val="666666"/>
      </a:accent6>
      <a:hlink>
        <a:srgbClr val="00ADEF"/>
      </a:hlink>
      <a:folHlink>
        <a:srgbClr val="002960"/>
      </a:folHlink>
    </a:clrScheme>
    <a:fontScheme name="Custom 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defRPr b="0" dirty="0" smtClean="0"/>
        </a:defPPr>
      </a:lstStyle>
    </a:tx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nergy Insights Widescreen 16x9.potx" id="{EB3E6362-414C-4878-B772-13CC41C8C517}" vid="{9A1E8131-4F3A-4C56-86D7-0A7F7A45C8CE}"/>
    </a:ext>
  </a:extLst>
</a:theme>
</file>

<file path=ppt/theme/theme3.xml><?xml version="1.0" encoding="utf-8"?>
<a:theme xmlns:a="http://schemas.openxmlformats.org/drawingml/2006/main" name="3_Firm Format - template">
  <a:themeElements>
    <a:clrScheme name="Custom 4">
      <a:dk1>
        <a:srgbClr val="000000"/>
      </a:dk1>
      <a:lt1>
        <a:srgbClr val="FFFFFF"/>
      </a:lt1>
      <a:dk2>
        <a:srgbClr val="002960"/>
      </a:dk2>
      <a:lt2>
        <a:srgbClr val="C5C5C5"/>
      </a:lt2>
      <a:accent1>
        <a:srgbClr val="939D98"/>
      </a:accent1>
      <a:accent2>
        <a:srgbClr val="00ADEF"/>
      </a:accent2>
      <a:accent3>
        <a:srgbClr val="66307C"/>
      </a:accent3>
      <a:accent4>
        <a:srgbClr val="009A9C"/>
      </a:accent4>
      <a:accent5>
        <a:srgbClr val="F27F00"/>
      </a:accent5>
      <a:accent6>
        <a:srgbClr val="AD005B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333333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~2412293.pptx" id="{F3D77990-36EF-4ED8-9E69-F9A22A65C4D9}" vid="{FB2AA411-F4CD-4FC9-8152-0DEB6547800E}"/>
    </a:ext>
  </a:extLst>
</a:theme>
</file>

<file path=ppt/theme/theme4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ergy Insights Widescreen 16x9</Template>
  <TotalTime>0</TotalTime>
  <Words>2369</Words>
  <Application>Microsoft Office PowerPoint</Application>
  <PresentationFormat>Custom</PresentationFormat>
  <Paragraphs>721</Paragraphs>
  <Slides>20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6" baseType="lpstr">
      <vt:lpstr>Georgia</vt:lpstr>
      <vt:lpstr>Century Gothic</vt:lpstr>
      <vt:lpstr>ＭＳ Ｐゴシック</vt:lpstr>
      <vt:lpstr>Arial Unicode MS</vt:lpstr>
      <vt:lpstr>Symbol</vt:lpstr>
      <vt:lpstr>Wingdings</vt:lpstr>
      <vt:lpstr>Arial Black</vt:lpstr>
      <vt:lpstr>Arial</vt:lpstr>
      <vt:lpstr>SimSun</vt:lpstr>
      <vt:lpstr>Times New Roman</vt:lpstr>
      <vt:lpstr>Firm Format - template</vt:lpstr>
      <vt:lpstr>1_Firm Format - template</vt:lpstr>
      <vt:lpstr>3_Firm Format - template</vt:lpstr>
      <vt:lpstr>Firm Format - template_Blue</vt:lpstr>
      <vt:lpstr>think-cell Slide</vt:lpstr>
      <vt:lpstr>Chart</vt:lpstr>
      <vt:lpstr>An Exciting Energy Future:  Innovation, Access, and Sustainability</vt:lpstr>
      <vt:lpstr>Key take-aways for today</vt:lpstr>
      <vt:lpstr>Primary energy demand</vt:lpstr>
      <vt:lpstr>All energy demand growth comes from non-OECD markets, OECD demand declines</vt:lpstr>
      <vt:lpstr>Global demand for electric power will almost double by 2050 as electrification continues to spread</vt:lpstr>
      <vt:lpstr>A cleaner, more diverse power mix evolves in the longer-term as a result of increasing renewables penetration</vt:lpstr>
      <vt:lpstr>Integration of increasing renewables will present an additional cost; flexibility solutions are needed</vt:lpstr>
      <vt:lpstr>Local aggregation of distributed resources can provide additional value</vt:lpstr>
      <vt:lpstr>PowerPoint Presentation</vt:lpstr>
      <vt:lpstr>Decreasing costs of solar plus battery storage will soon make load defection economically sound in many markets</vt:lpstr>
      <vt:lpstr>Liquids demand grows through 2037, driven by chemicals and aviation</vt:lpstr>
      <vt:lpstr>Ride sharing and autonomous operations compound with electrification to accelerate mobility disruptions</vt:lpstr>
      <vt:lpstr>At this point global liquid demand is expected to peak, driven by electrification of the transport sector</vt:lpstr>
      <vt:lpstr>In oil, several additional disruptors could lead to an even earlier peak</vt:lpstr>
      <vt:lpstr>In gas, the debate is whether emerging disruptions offset demand growth by 2030</vt:lpstr>
      <vt:lpstr>However, even with the high renewables growth, emissions will miss current targets by a wide margin</vt:lpstr>
      <vt:lpstr>Addressing Greenhouse Gas Emissions Requires Broad Innovation</vt:lpstr>
      <vt:lpstr>Open question: will cities play a bigger role?</vt:lpstr>
      <vt:lpstr>At the end of the day, energy productivity and the share of zero-carbon energy will define system change</vt:lpstr>
      <vt:lpstr>Get the full stor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7-05-18T15:22:29Z</dcterms:created>
  <dcterms:modified xsi:type="dcterms:W3CDTF">2018-03-09T16:07:19Z</dcterms:modified>
  <cp:category/>
  <cp:contentStatus/>
  <dc:language/>
  <cp:version/>
</cp:coreProperties>
</file>